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  <p:sldMasterId id="2147483748" r:id="rId5"/>
    <p:sldMasterId id="2147483772" r:id="rId6"/>
  </p:sldMasterIdLst>
  <p:notesMasterIdLst>
    <p:notesMasterId r:id="rId23"/>
  </p:notesMasterIdLst>
  <p:handoutMasterIdLst>
    <p:handoutMasterId r:id="rId24"/>
  </p:handoutMasterIdLst>
  <p:sldIdLst>
    <p:sldId id="2134808479" r:id="rId7"/>
    <p:sldId id="2134808448" r:id="rId8"/>
    <p:sldId id="2134808449" r:id="rId9"/>
    <p:sldId id="2134808481" r:id="rId10"/>
    <p:sldId id="2134808385" r:id="rId11"/>
    <p:sldId id="2134808432" r:id="rId12"/>
    <p:sldId id="2134808430" r:id="rId13"/>
    <p:sldId id="2134808435" r:id="rId14"/>
    <p:sldId id="2134808480" r:id="rId15"/>
    <p:sldId id="2134808374" r:id="rId16"/>
    <p:sldId id="386" r:id="rId17"/>
    <p:sldId id="2134808482" r:id="rId18"/>
    <p:sldId id="2134808436" r:id="rId19"/>
    <p:sldId id="2007579771" r:id="rId20"/>
    <p:sldId id="2007579838" r:id="rId21"/>
    <p:sldId id="2134808483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2981FC-75C9-1A3A-DA45-EFF61DBE2FBB}" name="Tuscher Laura" initials="TL" userId="S::laura.zwaller@netcom-bw.de::fc9dbf36-9989-4e46-9e85-0f71b5719b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53CA27-E846-462B-864E-C3CC84AF4CF8}" v="10" dt="2026-05-05T09:21:55.8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3" d="2"/>
        <a:sy n="3" d="2"/>
      </p:scale>
      <p:origin x="0" y="-5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berlandt Benjamin" userId="0d46b80d-43e5-4b86-a9e3-849ff1a9825f" providerId="ADAL" clId="{AC7286DD-3C4B-494A-B1EE-EB0A0FAA5012}"/>
    <pc:docChg chg="undo custSel addSld delSld modSld modMainMaster">
      <pc:chgData name="Haberlandt Benjamin" userId="0d46b80d-43e5-4b86-a9e3-849ff1a9825f" providerId="ADAL" clId="{AC7286DD-3C4B-494A-B1EE-EB0A0FAA5012}" dt="2026-05-05T13:58:29.296" v="922" actId="478"/>
      <pc:docMkLst>
        <pc:docMk/>
      </pc:docMkLst>
      <pc:sldChg chg="modSp mod modShow">
        <pc:chgData name="Haberlandt Benjamin" userId="0d46b80d-43e5-4b86-a9e3-849ff1a9825f" providerId="ADAL" clId="{AC7286DD-3C4B-494A-B1EE-EB0A0FAA5012}" dt="2026-05-05T09:09:50.995" v="778" actId="34476"/>
        <pc:sldMkLst>
          <pc:docMk/>
          <pc:sldMk cId="3664724594" sldId="386"/>
        </pc:sldMkLst>
        <pc:spChg chg="mod">
          <ac:chgData name="Haberlandt Benjamin" userId="0d46b80d-43e5-4b86-a9e3-849ff1a9825f" providerId="ADAL" clId="{AC7286DD-3C4B-494A-B1EE-EB0A0FAA5012}" dt="2026-05-05T09:09:43.079" v="777" actId="113"/>
          <ac:spMkLst>
            <pc:docMk/>
            <pc:sldMk cId="3664724594" sldId="386"/>
            <ac:spMk id="3" creationId="{00000000-0000-0000-0000-000000000000}"/>
          </ac:spMkLst>
        </pc:spChg>
      </pc:sldChg>
      <pc:sldChg chg="modSp del mod">
        <pc:chgData name="Haberlandt Benjamin" userId="0d46b80d-43e5-4b86-a9e3-849ff1a9825f" providerId="ADAL" clId="{AC7286DD-3C4B-494A-B1EE-EB0A0FAA5012}" dt="2026-05-05T09:35:31.606" v="848" actId="47"/>
        <pc:sldMkLst>
          <pc:docMk/>
          <pc:sldMk cId="3608803887" sldId="3385"/>
        </pc:sldMkLst>
        <pc:spChg chg="mod">
          <ac:chgData name="Haberlandt Benjamin" userId="0d46b80d-43e5-4b86-a9e3-849ff1a9825f" providerId="ADAL" clId="{AC7286DD-3C4B-494A-B1EE-EB0A0FAA5012}" dt="2026-05-05T09:11:16.441" v="783" actId="113"/>
          <ac:spMkLst>
            <pc:docMk/>
            <pc:sldMk cId="3608803887" sldId="3385"/>
            <ac:spMk id="4" creationId="{27ED6EFE-899D-C85F-57F6-575CB8DFAD1B}"/>
          </ac:spMkLst>
        </pc:spChg>
        <pc:spChg chg="mod">
          <ac:chgData name="Haberlandt Benjamin" userId="0d46b80d-43e5-4b86-a9e3-849ff1a9825f" providerId="ADAL" clId="{AC7286DD-3C4B-494A-B1EE-EB0A0FAA5012}" dt="2026-05-05T09:11:23.483" v="801" actId="20577"/>
          <ac:spMkLst>
            <pc:docMk/>
            <pc:sldMk cId="3608803887" sldId="3385"/>
            <ac:spMk id="5" creationId="{51C38A74-E96E-40CF-9D81-DC410EF1DEB3}"/>
          </ac:spMkLst>
        </pc:spChg>
      </pc:sldChg>
      <pc:sldChg chg="delSp modSp mod">
        <pc:chgData name="Haberlandt Benjamin" userId="0d46b80d-43e5-4b86-a9e3-849ff1a9825f" providerId="ADAL" clId="{AC7286DD-3C4B-494A-B1EE-EB0A0FAA5012}" dt="2026-05-05T09:41:55.262" v="920" actId="478"/>
        <pc:sldMkLst>
          <pc:docMk/>
          <pc:sldMk cId="4179898845" sldId="2007579771"/>
        </pc:sldMkLst>
        <pc:spChg chg="mod">
          <ac:chgData name="Haberlandt Benjamin" userId="0d46b80d-43e5-4b86-a9e3-849ff1a9825f" providerId="ADAL" clId="{AC7286DD-3C4B-494A-B1EE-EB0A0FAA5012}" dt="2026-05-05T09:10:59.927" v="781" actId="113"/>
          <ac:spMkLst>
            <pc:docMk/>
            <pc:sldMk cId="4179898845" sldId="2007579771"/>
            <ac:spMk id="2" creationId="{4022E95C-4AD6-42C5-BE59-C1DBEFF97C36}"/>
          </ac:spMkLst>
        </pc:spChg>
        <pc:spChg chg="del">
          <ac:chgData name="Haberlandt Benjamin" userId="0d46b80d-43e5-4b86-a9e3-849ff1a9825f" providerId="ADAL" clId="{AC7286DD-3C4B-494A-B1EE-EB0A0FAA5012}" dt="2026-05-05T09:41:55.262" v="920" actId="478"/>
          <ac:spMkLst>
            <pc:docMk/>
            <pc:sldMk cId="4179898845" sldId="2007579771"/>
            <ac:spMk id="3" creationId="{606E4979-EFB1-B457-846E-E182D84ACB5C}"/>
          </ac:spMkLst>
        </pc:spChg>
      </pc:sldChg>
      <pc:sldChg chg="delSp modSp mod">
        <pc:chgData name="Haberlandt Benjamin" userId="0d46b80d-43e5-4b86-a9e3-849ff1a9825f" providerId="ADAL" clId="{AC7286DD-3C4B-494A-B1EE-EB0A0FAA5012}" dt="2026-05-05T09:41:57.388" v="921" actId="478"/>
        <pc:sldMkLst>
          <pc:docMk/>
          <pc:sldMk cId="1921009082" sldId="2007579838"/>
        </pc:sldMkLst>
        <pc:spChg chg="del">
          <ac:chgData name="Haberlandt Benjamin" userId="0d46b80d-43e5-4b86-a9e3-849ff1a9825f" providerId="ADAL" clId="{AC7286DD-3C4B-494A-B1EE-EB0A0FAA5012}" dt="2026-05-05T09:41:57.388" v="921" actId="478"/>
          <ac:spMkLst>
            <pc:docMk/>
            <pc:sldMk cId="1921009082" sldId="2007579838"/>
            <ac:spMk id="2" creationId="{1B18AF62-D9EA-7C04-ED62-8F16B7753AC5}"/>
          </ac:spMkLst>
        </pc:spChg>
        <pc:spChg chg="mod">
          <ac:chgData name="Haberlandt Benjamin" userId="0d46b80d-43e5-4b86-a9e3-849ff1a9825f" providerId="ADAL" clId="{AC7286DD-3C4B-494A-B1EE-EB0A0FAA5012}" dt="2026-05-05T09:11:04.851" v="782" actId="113"/>
          <ac:spMkLst>
            <pc:docMk/>
            <pc:sldMk cId="1921009082" sldId="2007579838"/>
            <ac:spMk id="5" creationId="{5197FE16-72F1-0AB7-23E5-115E4916CC70}"/>
          </ac:spMkLst>
        </pc:spChg>
      </pc:sldChg>
      <pc:sldChg chg="del">
        <pc:chgData name="Haberlandt Benjamin" userId="0d46b80d-43e5-4b86-a9e3-849ff1a9825f" providerId="ADAL" clId="{AC7286DD-3C4B-494A-B1EE-EB0A0FAA5012}" dt="2026-05-05T09:08:54.936" v="776" actId="47"/>
        <pc:sldMkLst>
          <pc:docMk/>
          <pc:sldMk cId="2056222849" sldId="2134808398"/>
        </pc:sldMkLst>
      </pc:sldChg>
      <pc:sldChg chg="modSp add mod">
        <pc:chgData name="Haberlandt Benjamin" userId="0d46b80d-43e5-4b86-a9e3-849ff1a9825f" providerId="ADAL" clId="{AC7286DD-3C4B-494A-B1EE-EB0A0FAA5012}" dt="2026-05-05T09:08:20.398" v="772" actId="1076"/>
        <pc:sldMkLst>
          <pc:docMk/>
          <pc:sldMk cId="523200942" sldId="2134808430"/>
        </pc:sldMkLst>
        <pc:spChg chg="mod">
          <ac:chgData name="Haberlandt Benjamin" userId="0d46b80d-43e5-4b86-a9e3-849ff1a9825f" providerId="ADAL" clId="{AC7286DD-3C4B-494A-B1EE-EB0A0FAA5012}" dt="2026-05-05T09:07:58.312" v="770" actId="2711"/>
          <ac:spMkLst>
            <pc:docMk/>
            <pc:sldMk cId="523200942" sldId="2134808430"/>
            <ac:spMk id="15" creationId="{2B76AD69-E52C-DA33-6EDB-A921E61640FC}"/>
          </ac:spMkLst>
        </pc:spChg>
        <pc:picChg chg="mod">
          <ac:chgData name="Haberlandt Benjamin" userId="0d46b80d-43e5-4b86-a9e3-849ff1a9825f" providerId="ADAL" clId="{AC7286DD-3C4B-494A-B1EE-EB0A0FAA5012}" dt="2026-05-05T09:08:20.398" v="772" actId="1076"/>
          <ac:picMkLst>
            <pc:docMk/>
            <pc:sldMk cId="523200942" sldId="2134808430"/>
            <ac:picMk id="7" creationId="{0954EF88-E27D-9AA1-261B-1BA04D9A89F0}"/>
          </ac:picMkLst>
        </pc:picChg>
      </pc:sldChg>
      <pc:sldChg chg="modSp mod">
        <pc:chgData name="Haberlandt Benjamin" userId="0d46b80d-43e5-4b86-a9e3-849ff1a9825f" providerId="ADAL" clId="{AC7286DD-3C4B-494A-B1EE-EB0A0FAA5012}" dt="2026-05-05T09:08:41.074" v="774" actId="113"/>
        <pc:sldMkLst>
          <pc:docMk/>
          <pc:sldMk cId="1757231483" sldId="2134808435"/>
        </pc:sldMkLst>
        <pc:spChg chg="mod">
          <ac:chgData name="Haberlandt Benjamin" userId="0d46b80d-43e5-4b86-a9e3-849ff1a9825f" providerId="ADAL" clId="{AC7286DD-3C4B-494A-B1EE-EB0A0FAA5012}" dt="2026-05-05T09:08:41.074" v="774" actId="113"/>
          <ac:spMkLst>
            <pc:docMk/>
            <pc:sldMk cId="1757231483" sldId="2134808435"/>
            <ac:spMk id="4" creationId="{785C04F1-324F-C8BD-E0A3-89249A387732}"/>
          </ac:spMkLst>
        </pc:spChg>
      </pc:sldChg>
      <pc:sldChg chg="modSp mod">
        <pc:chgData name="Haberlandt Benjamin" userId="0d46b80d-43e5-4b86-a9e3-849ff1a9825f" providerId="ADAL" clId="{AC7286DD-3C4B-494A-B1EE-EB0A0FAA5012}" dt="2026-05-05T09:10:03.012" v="779" actId="113"/>
        <pc:sldMkLst>
          <pc:docMk/>
          <pc:sldMk cId="940573225" sldId="2134808436"/>
        </pc:sldMkLst>
        <pc:spChg chg="mod">
          <ac:chgData name="Haberlandt Benjamin" userId="0d46b80d-43e5-4b86-a9e3-849ff1a9825f" providerId="ADAL" clId="{AC7286DD-3C4B-494A-B1EE-EB0A0FAA5012}" dt="2026-05-05T09:10:03.012" v="779" actId="113"/>
          <ac:spMkLst>
            <pc:docMk/>
            <pc:sldMk cId="940573225" sldId="2134808436"/>
            <ac:spMk id="4" creationId="{785C04F1-324F-C8BD-E0A3-89249A387732}"/>
          </ac:spMkLst>
        </pc:spChg>
      </pc:sldChg>
      <pc:sldChg chg="modSp mod">
        <pc:chgData name="Haberlandt Benjamin" userId="0d46b80d-43e5-4b86-a9e3-849ff1a9825f" providerId="ADAL" clId="{AC7286DD-3C4B-494A-B1EE-EB0A0FAA5012}" dt="2026-05-05T09:06:41.159" v="764" actId="113"/>
        <pc:sldMkLst>
          <pc:docMk/>
          <pc:sldMk cId="2692466092" sldId="2134808449"/>
        </pc:sldMkLst>
        <pc:spChg chg="mod">
          <ac:chgData name="Haberlandt Benjamin" userId="0d46b80d-43e5-4b86-a9e3-849ff1a9825f" providerId="ADAL" clId="{AC7286DD-3C4B-494A-B1EE-EB0A0FAA5012}" dt="2026-05-05T09:06:41.159" v="764" actId="113"/>
          <ac:spMkLst>
            <pc:docMk/>
            <pc:sldMk cId="2692466092" sldId="2134808449"/>
            <ac:spMk id="4" creationId="{373221FA-B58A-90A3-2C91-A64332998FFD}"/>
          </ac:spMkLst>
        </pc:spChg>
      </pc:sldChg>
      <pc:sldChg chg="delSp modSp add mod">
        <pc:chgData name="Haberlandt Benjamin" userId="0d46b80d-43e5-4b86-a9e3-849ff1a9825f" providerId="ADAL" clId="{AC7286DD-3C4B-494A-B1EE-EB0A0FAA5012}" dt="2026-05-05T09:41:05.093" v="919" actId="20577"/>
        <pc:sldMkLst>
          <pc:docMk/>
          <pc:sldMk cId="3044822177" sldId="2134808479"/>
        </pc:sldMkLst>
        <pc:spChg chg="mod">
          <ac:chgData name="Haberlandt Benjamin" userId="0d46b80d-43e5-4b86-a9e3-849ff1a9825f" providerId="ADAL" clId="{AC7286DD-3C4B-494A-B1EE-EB0A0FAA5012}" dt="2026-05-05T09:41:05.093" v="919" actId="20577"/>
          <ac:spMkLst>
            <pc:docMk/>
            <pc:sldMk cId="3044822177" sldId="2134808479"/>
            <ac:spMk id="10" creationId="{0BA17D50-B3B8-4603-85F4-C36A245DBF03}"/>
          </ac:spMkLst>
        </pc:spChg>
        <pc:spChg chg="mod">
          <ac:chgData name="Haberlandt Benjamin" userId="0d46b80d-43e5-4b86-a9e3-849ff1a9825f" providerId="ADAL" clId="{AC7286DD-3C4B-494A-B1EE-EB0A0FAA5012}" dt="2026-05-05T09:41:00.038" v="912" actId="20577"/>
          <ac:spMkLst>
            <pc:docMk/>
            <pc:sldMk cId="3044822177" sldId="2134808479"/>
            <ac:spMk id="11" creationId="{1246060D-EE70-B7B8-F844-ECCD069556BF}"/>
          </ac:spMkLst>
        </pc:spChg>
      </pc:sldChg>
      <pc:sldChg chg="del">
        <pc:chgData name="Haberlandt Benjamin" userId="0d46b80d-43e5-4b86-a9e3-849ff1a9825f" providerId="ADAL" clId="{AC7286DD-3C4B-494A-B1EE-EB0A0FAA5012}" dt="2026-05-05T09:06:29.312" v="763" actId="47"/>
        <pc:sldMkLst>
          <pc:docMk/>
          <pc:sldMk cId="1406268079" sldId="2134808480"/>
        </pc:sldMkLst>
      </pc:sldChg>
      <pc:sldChg chg="delSp add mod delAnim">
        <pc:chgData name="Haberlandt Benjamin" userId="0d46b80d-43e5-4b86-a9e3-849ff1a9825f" providerId="ADAL" clId="{AC7286DD-3C4B-494A-B1EE-EB0A0FAA5012}" dt="2026-05-05T13:58:29.296" v="922" actId="478"/>
        <pc:sldMkLst>
          <pc:docMk/>
          <pc:sldMk cId="3778624477" sldId="2134808480"/>
        </pc:sldMkLst>
        <pc:spChg chg="del">
          <ac:chgData name="Haberlandt Benjamin" userId="0d46b80d-43e5-4b86-a9e3-849ff1a9825f" providerId="ADAL" clId="{AC7286DD-3C4B-494A-B1EE-EB0A0FAA5012}" dt="2026-05-05T13:58:29.296" v="922" actId="478"/>
          <ac:spMkLst>
            <pc:docMk/>
            <pc:sldMk cId="3778624477" sldId="2134808480"/>
            <ac:spMk id="2" creationId="{751C4ADD-004B-FF0A-B40B-3529D31E28E7}"/>
          </ac:spMkLst>
        </pc:spChg>
      </pc:sldChg>
      <pc:sldChg chg="modSp mod">
        <pc:chgData name="Haberlandt Benjamin" userId="0d46b80d-43e5-4b86-a9e3-849ff1a9825f" providerId="ADAL" clId="{AC7286DD-3C4B-494A-B1EE-EB0A0FAA5012}" dt="2026-05-05T09:06:44.399" v="765" actId="113"/>
        <pc:sldMkLst>
          <pc:docMk/>
          <pc:sldMk cId="2289036417" sldId="2134808481"/>
        </pc:sldMkLst>
        <pc:spChg chg="mod">
          <ac:chgData name="Haberlandt Benjamin" userId="0d46b80d-43e5-4b86-a9e3-849ff1a9825f" providerId="ADAL" clId="{AC7286DD-3C4B-494A-B1EE-EB0A0FAA5012}" dt="2026-05-05T09:06:44.399" v="765" actId="113"/>
          <ac:spMkLst>
            <pc:docMk/>
            <pc:sldMk cId="2289036417" sldId="2134808481"/>
            <ac:spMk id="7" creationId="{92D97C22-C2B1-A627-594A-7B66B7DAECD1}"/>
          </ac:spMkLst>
        </pc:spChg>
      </pc:sldChg>
      <pc:sldChg chg="add">
        <pc:chgData name="Haberlandt Benjamin" userId="0d46b80d-43e5-4b86-a9e3-849ff1a9825f" providerId="ADAL" clId="{AC7286DD-3C4B-494A-B1EE-EB0A0FAA5012}" dt="2026-05-05T09:10:19.015" v="780"/>
        <pc:sldMkLst>
          <pc:docMk/>
          <pc:sldMk cId="1306845380" sldId="2134808482"/>
        </pc:sldMkLst>
      </pc:sldChg>
      <pc:sldChg chg="modSp add mod">
        <pc:chgData name="Haberlandt Benjamin" userId="0d46b80d-43e5-4b86-a9e3-849ff1a9825f" providerId="ADAL" clId="{AC7286DD-3C4B-494A-B1EE-EB0A0FAA5012}" dt="2026-05-05T09:40:09.335" v="887" actId="20577"/>
        <pc:sldMkLst>
          <pc:docMk/>
          <pc:sldMk cId="2006420130" sldId="2134808483"/>
        </pc:sldMkLst>
        <pc:spChg chg="mod">
          <ac:chgData name="Haberlandt Benjamin" userId="0d46b80d-43e5-4b86-a9e3-849ff1a9825f" providerId="ADAL" clId="{AC7286DD-3C4B-494A-B1EE-EB0A0FAA5012}" dt="2026-05-05T09:40:09.335" v="887" actId="20577"/>
          <ac:spMkLst>
            <pc:docMk/>
            <pc:sldMk cId="2006420130" sldId="2134808483"/>
            <ac:spMk id="5" creationId="{51C38A74-E96E-40CF-9D81-DC410EF1DEB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05.05.2026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C2C10B-0819-4C9E-AC5E-FBB29FBE4A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424" y="755576"/>
            <a:ext cx="1412776" cy="251108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05.05.20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err="1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NetCom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 BW: vollintegrierter Telekommunikationsanbieter von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 Medium" panose="020B0604020101020102" pitchFamily="34" charset="0"/>
              </a:rPr>
              <a:t>Highspeed-Glasfaserinfrastruktur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mit großer Kompetenz im Betrieb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 Medium" panose="020B0604020101020102" pitchFamily="34" charset="0"/>
              </a:rPr>
              <a:t>kritischer Infrastrukturen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.</a:t>
            </a:r>
            <a:endParaRPr lang="de-DE" sz="900" b="0">
              <a:solidFill>
                <a:schemeClr val="accent5"/>
              </a:solidFill>
              <a:latin typeface="+mn-lt"/>
              <a:ea typeface="DIN-Regular" panose="020B0500010101010101" pitchFamily="34" charset="0"/>
              <a:cs typeface="EnBW DIN Pro" panose="020B0504020101020102" pitchFamily="34" charset="0"/>
            </a:endParaRP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080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/>
              <a:t>LWL-Hausanschluss B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0741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39330F-3125-5A96-94A1-0A5FE5E12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A0A3DF4-B09B-438B-CE98-26EEB898FD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7628ED6-533B-77BE-9665-95C7340AE4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8EE979-1A8E-BDC8-2853-22790DBAF2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4256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b="0">
                <a:latin typeface="+mn-lt"/>
              </a:rPr>
              <a:t>Link zur Video-Verknüpfung: S:\Netzwerkfreigaben\FS-Beteiligungen\NetCom\info\produkte\NetCom_portfolio\allg\präsentation\Videos waipu.tv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921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9082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Vorstellung Vertriebspartner, Kontaktdaten im Chat einblenden</a:t>
            </a:r>
          </a:p>
          <a:p>
            <a:endParaRPr lang="de-DE" b="0"/>
          </a:p>
          <a:p>
            <a:r>
              <a:rPr lang="de-DE" b="0"/>
              <a:t>Zu Folie 11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2653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6F9CE72-000E-76F2-AA2A-4EAA6D04ED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62946" y="1251518"/>
            <a:ext cx="9829055" cy="5606482"/>
          </a:xfrm>
          <a:custGeom>
            <a:avLst/>
            <a:gdLst>
              <a:gd name="connsiteX0" fmla="*/ 6234914 w 9829055"/>
              <a:gd name="connsiteY0" fmla="*/ 0 h 5606482"/>
              <a:gd name="connsiteX1" fmla="*/ 7313533 w 9829055"/>
              <a:gd name="connsiteY1" fmla="*/ 446982 h 5606482"/>
              <a:gd name="connsiteX2" fmla="*/ 8972024 w 9829055"/>
              <a:gd name="connsiteY2" fmla="*/ 2105473 h 5606482"/>
              <a:gd name="connsiteX3" fmla="*/ 9829054 w 9829055"/>
              <a:gd name="connsiteY3" fmla="*/ 2962503 h 5606482"/>
              <a:gd name="connsiteX4" fmla="*/ 9829054 w 9829055"/>
              <a:gd name="connsiteY4" fmla="*/ 3192777 h 5606482"/>
              <a:gd name="connsiteX5" fmla="*/ 9829055 w 9829055"/>
              <a:gd name="connsiteY5" fmla="*/ 3192778 h 5606482"/>
              <a:gd name="connsiteX6" fmla="*/ 9829055 w 9829055"/>
              <a:gd name="connsiteY6" fmla="*/ 5606482 h 5606482"/>
              <a:gd name="connsiteX7" fmla="*/ 9061647 w 9829055"/>
              <a:gd name="connsiteY7" fmla="*/ 5606482 h 5606482"/>
              <a:gd name="connsiteX8" fmla="*/ 8648248 w 9829055"/>
              <a:gd name="connsiteY8" fmla="*/ 5606482 h 5606482"/>
              <a:gd name="connsiteX9" fmla="*/ 4170361 w 9829055"/>
              <a:gd name="connsiteY9" fmla="*/ 5606482 h 5606482"/>
              <a:gd name="connsiteX10" fmla="*/ 3805063 w 9829055"/>
              <a:gd name="connsiteY10" fmla="*/ 5606482 h 5606482"/>
              <a:gd name="connsiteX11" fmla="*/ 575850 w 9829055"/>
              <a:gd name="connsiteY11" fmla="*/ 5606482 h 5606482"/>
              <a:gd name="connsiteX12" fmla="*/ 575851 w 9829055"/>
              <a:gd name="connsiteY12" fmla="*/ 5606481 h 5606482"/>
              <a:gd name="connsiteX13" fmla="*/ 0 w 9829055"/>
              <a:gd name="connsiteY13" fmla="*/ 5606481 h 5606482"/>
              <a:gd name="connsiteX14" fmla="*/ 404665 w 9829055"/>
              <a:gd name="connsiteY14" fmla="*/ 5201817 h 5606482"/>
              <a:gd name="connsiteX15" fmla="*/ 401460 w 9829055"/>
              <a:gd name="connsiteY15" fmla="*/ 5201817 h 5606482"/>
              <a:gd name="connsiteX16" fmla="*/ 5156628 w 9829055"/>
              <a:gd name="connsiteY16" fmla="*/ 446648 h 5606482"/>
              <a:gd name="connsiteX17" fmla="*/ 6234914 w 9829055"/>
              <a:gd name="connsiteY17" fmla="*/ 0 h 560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829055" h="5606482">
                <a:moveTo>
                  <a:pt x="6234914" y="0"/>
                </a:moveTo>
                <a:cubicBezTo>
                  <a:pt x="6642230" y="0"/>
                  <a:pt x="7025546" y="158661"/>
                  <a:pt x="7313533" y="446982"/>
                </a:cubicBezTo>
                <a:lnTo>
                  <a:pt x="8972024" y="2105473"/>
                </a:lnTo>
                <a:lnTo>
                  <a:pt x="9829054" y="2962503"/>
                </a:lnTo>
                <a:lnTo>
                  <a:pt x="9829054" y="3192777"/>
                </a:lnTo>
                <a:lnTo>
                  <a:pt x="9829055" y="3192778"/>
                </a:lnTo>
                <a:lnTo>
                  <a:pt x="9829055" y="5606482"/>
                </a:lnTo>
                <a:lnTo>
                  <a:pt x="9061647" y="5606482"/>
                </a:lnTo>
                <a:lnTo>
                  <a:pt x="8648248" y="5606482"/>
                </a:lnTo>
                <a:lnTo>
                  <a:pt x="4170361" y="5606482"/>
                </a:lnTo>
                <a:lnTo>
                  <a:pt x="3805063" y="5606482"/>
                </a:lnTo>
                <a:lnTo>
                  <a:pt x="575850" y="5606482"/>
                </a:lnTo>
                <a:lnTo>
                  <a:pt x="575851" y="5606481"/>
                </a:lnTo>
                <a:lnTo>
                  <a:pt x="0" y="5606481"/>
                </a:lnTo>
                <a:lnTo>
                  <a:pt x="404665" y="5201817"/>
                </a:lnTo>
                <a:lnTo>
                  <a:pt x="401460" y="5201817"/>
                </a:lnTo>
                <a:lnTo>
                  <a:pt x="5156628" y="446648"/>
                </a:lnTo>
                <a:cubicBezTo>
                  <a:pt x="5444614" y="158661"/>
                  <a:pt x="5827599" y="0"/>
                  <a:pt x="6234914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088772"/>
            <a:ext cx="5975350" cy="1656334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  <a:latin typeface="EnBW Sans Headline bold" panose="020B0604020202020204" charset="0"/>
                <a:ea typeface="EnBW Sans Headline bold" panose="020B060402020202020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28169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7EA83E9-B2E8-37E9-9452-72A9D22BD25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BAB260E-5D20-B5CA-B078-792CF29803A8}"/>
              </a:ext>
            </a:extLst>
          </p:cNvPr>
          <p:cNvSpPr/>
          <p:nvPr userDrawn="1"/>
        </p:nvSpPr>
        <p:spPr>
          <a:xfrm rot="16200000">
            <a:off x="-738228" y="4435312"/>
            <a:ext cx="3160916" cy="1684460"/>
          </a:xfrm>
          <a:custGeom>
            <a:avLst/>
            <a:gdLst>
              <a:gd name="connsiteX0" fmla="*/ 3160916 w 3160916"/>
              <a:gd name="connsiteY0" fmla="*/ 0 h 1684460"/>
              <a:gd name="connsiteX1" fmla="*/ 1552469 w 3160916"/>
              <a:gd name="connsiteY1" fmla="*/ 1608447 h 1684460"/>
              <a:gd name="connsiteX2" fmla="*/ 1368743 w 3160916"/>
              <a:gd name="connsiteY2" fmla="*/ 1684460 h 1684460"/>
              <a:gd name="connsiteX3" fmla="*/ 1368401 w 3160916"/>
              <a:gd name="connsiteY3" fmla="*/ 1684119 h 1684460"/>
              <a:gd name="connsiteX4" fmla="*/ 1184677 w 3160916"/>
              <a:gd name="connsiteY4" fmla="*/ 1608106 h 1684460"/>
              <a:gd name="connsiteX5" fmla="*/ 0 w 3160916"/>
              <a:gd name="connsiteY5" fmla="*/ 423428 h 1684460"/>
              <a:gd name="connsiteX6" fmla="*/ 0 w 3160916"/>
              <a:gd name="connsiteY6" fmla="*/ 0 h 1684460"/>
              <a:gd name="connsiteX7" fmla="*/ 188760 w 3160916"/>
              <a:gd name="connsiteY7" fmla="*/ 0 h 1684460"/>
              <a:gd name="connsiteX8" fmla="*/ 1368402 w 3160916"/>
              <a:gd name="connsiteY8" fmla="*/ 1179642 h 1684460"/>
              <a:gd name="connsiteX9" fmla="*/ 2548045 w 3160916"/>
              <a:gd name="connsiteY9" fmla="*/ 0 h 168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0916" h="1684460">
                <a:moveTo>
                  <a:pt x="3160916" y="0"/>
                </a:moveTo>
                <a:lnTo>
                  <a:pt x="1552469" y="1608447"/>
                </a:lnTo>
                <a:cubicBezTo>
                  <a:pt x="1501679" y="1659235"/>
                  <a:pt x="1435212" y="1684460"/>
                  <a:pt x="1368743" y="1684460"/>
                </a:cubicBezTo>
                <a:lnTo>
                  <a:pt x="1368401" y="1684119"/>
                </a:lnTo>
                <a:cubicBezTo>
                  <a:pt x="1301933" y="1684119"/>
                  <a:pt x="1235465" y="1658895"/>
                  <a:pt x="1184677" y="1608106"/>
                </a:cubicBezTo>
                <a:lnTo>
                  <a:pt x="0" y="423428"/>
                </a:lnTo>
                <a:lnTo>
                  <a:pt x="0" y="0"/>
                </a:lnTo>
                <a:lnTo>
                  <a:pt x="188760" y="0"/>
                </a:lnTo>
                <a:lnTo>
                  <a:pt x="1368402" y="1179642"/>
                </a:lnTo>
                <a:lnTo>
                  <a:pt x="2548045" y="0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 Zu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C906616-F44C-2953-8FCF-7D32AD1B06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22959" y="2614736"/>
            <a:ext cx="8469042" cy="4243264"/>
          </a:xfrm>
          <a:custGeom>
            <a:avLst/>
            <a:gdLst>
              <a:gd name="connsiteX0" fmla="*/ 4874901 w 8469042"/>
              <a:gd name="connsiteY0" fmla="*/ 0 h 4243264"/>
              <a:gd name="connsiteX1" fmla="*/ 5953520 w 8469042"/>
              <a:gd name="connsiteY1" fmla="*/ 446982 h 4243264"/>
              <a:gd name="connsiteX2" fmla="*/ 7612011 w 8469042"/>
              <a:gd name="connsiteY2" fmla="*/ 2105473 h 4243264"/>
              <a:gd name="connsiteX3" fmla="*/ 8469041 w 8469042"/>
              <a:gd name="connsiteY3" fmla="*/ 2962503 h 4243264"/>
              <a:gd name="connsiteX4" fmla="*/ 8469041 w 8469042"/>
              <a:gd name="connsiteY4" fmla="*/ 3192777 h 4243264"/>
              <a:gd name="connsiteX5" fmla="*/ 8469042 w 8469042"/>
              <a:gd name="connsiteY5" fmla="*/ 3192778 h 4243264"/>
              <a:gd name="connsiteX6" fmla="*/ 8469042 w 8469042"/>
              <a:gd name="connsiteY6" fmla="*/ 4243264 h 4243264"/>
              <a:gd name="connsiteX7" fmla="*/ 0 w 8469042"/>
              <a:gd name="connsiteY7" fmla="*/ 4243264 h 4243264"/>
              <a:gd name="connsiteX8" fmla="*/ 3796615 w 8469042"/>
              <a:gd name="connsiteY8" fmla="*/ 446648 h 4243264"/>
              <a:gd name="connsiteX9" fmla="*/ 4874901 w 8469042"/>
              <a:gd name="connsiteY9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9042" h="4243264">
                <a:moveTo>
                  <a:pt x="4874901" y="0"/>
                </a:moveTo>
                <a:cubicBezTo>
                  <a:pt x="5282217" y="0"/>
                  <a:pt x="5665533" y="158661"/>
                  <a:pt x="5953520" y="446982"/>
                </a:cubicBezTo>
                <a:lnTo>
                  <a:pt x="7612011" y="2105473"/>
                </a:lnTo>
                <a:lnTo>
                  <a:pt x="8469041" y="2962503"/>
                </a:lnTo>
                <a:lnTo>
                  <a:pt x="8469041" y="3192777"/>
                </a:lnTo>
                <a:lnTo>
                  <a:pt x="8469042" y="3192778"/>
                </a:lnTo>
                <a:lnTo>
                  <a:pt x="8469042" y="4243264"/>
                </a:lnTo>
                <a:lnTo>
                  <a:pt x="0" y="4243264"/>
                </a:lnTo>
                <a:lnTo>
                  <a:pt x="3796615" y="446648"/>
                </a:lnTo>
                <a:cubicBezTo>
                  <a:pt x="4084601" y="158661"/>
                  <a:pt x="4467587" y="0"/>
                  <a:pt x="4874901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879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DA3FCF58-F8B7-0633-2038-5AE1A48A4AFE}"/>
              </a:ext>
            </a:extLst>
          </p:cNvPr>
          <p:cNvSpPr/>
          <p:nvPr userDrawn="1"/>
        </p:nvSpPr>
        <p:spPr>
          <a:xfrm flipV="1">
            <a:off x="4004735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6A892B12-274A-F782-3830-80F6B9F1CC46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7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A051152-F29D-F781-2D8F-B1B9E6393C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1804" cy="6319154"/>
          </a:xfrm>
          <a:custGeom>
            <a:avLst/>
            <a:gdLst>
              <a:gd name="connsiteX0" fmla="*/ 0 w 4331804"/>
              <a:gd name="connsiteY0" fmla="*/ 0 h 6319154"/>
              <a:gd name="connsiteX1" fmla="*/ 8848 w 4331804"/>
              <a:gd name="connsiteY1" fmla="*/ 0 h 6319154"/>
              <a:gd name="connsiteX2" fmla="*/ 1487488 w 4331804"/>
              <a:gd name="connsiteY2" fmla="*/ 0 h 6319154"/>
              <a:gd name="connsiteX3" fmla="*/ 3604025 w 4331804"/>
              <a:gd name="connsiteY3" fmla="*/ 0 h 6319154"/>
              <a:gd name="connsiteX4" fmla="*/ 3884822 w 4331804"/>
              <a:gd name="connsiteY4" fmla="*/ 280797 h 6319154"/>
              <a:gd name="connsiteX5" fmla="*/ 4331804 w 4331804"/>
              <a:gd name="connsiteY5" fmla="*/ 1359418 h 6319154"/>
              <a:gd name="connsiteX6" fmla="*/ 3885156 w 4331804"/>
              <a:gd name="connsiteY6" fmla="*/ 2437705 h 6319154"/>
              <a:gd name="connsiteX7" fmla="*/ 860398 w 4331804"/>
              <a:gd name="connsiteY7" fmla="*/ 5462463 h 6319154"/>
              <a:gd name="connsiteX8" fmla="*/ 856691 w 4331804"/>
              <a:gd name="connsiteY8" fmla="*/ 5462463 h 6319154"/>
              <a:gd name="connsiteX9" fmla="*/ 0 w 4331804"/>
              <a:gd name="connsiteY9" fmla="*/ 6319154 h 6319154"/>
              <a:gd name="connsiteX10" fmla="*/ 0 w 4331804"/>
              <a:gd name="connsiteY10" fmla="*/ 3392996 h 6319154"/>
              <a:gd name="connsiteX11" fmla="*/ 0 w 4331804"/>
              <a:gd name="connsiteY11" fmla="*/ 2728349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0"/>
                </a:moveTo>
                <a:lnTo>
                  <a:pt x="8848" y="0"/>
                </a:lnTo>
                <a:lnTo>
                  <a:pt x="1487488" y="0"/>
                </a:lnTo>
                <a:lnTo>
                  <a:pt x="3604025" y="0"/>
                </a:lnTo>
                <a:lnTo>
                  <a:pt x="3884822" y="280797"/>
                </a:lnTo>
                <a:cubicBezTo>
                  <a:pt x="4173144" y="568786"/>
                  <a:pt x="4331804" y="952102"/>
                  <a:pt x="4331804" y="1359418"/>
                </a:cubicBezTo>
                <a:cubicBezTo>
                  <a:pt x="4331804" y="1766733"/>
                  <a:pt x="4173144" y="2149717"/>
                  <a:pt x="3885156" y="2437705"/>
                </a:cubicBezTo>
                <a:lnTo>
                  <a:pt x="860398" y="5462463"/>
                </a:lnTo>
                <a:lnTo>
                  <a:pt x="856691" y="5462463"/>
                </a:lnTo>
                <a:lnTo>
                  <a:pt x="0" y="6319154"/>
                </a:lnTo>
                <a:lnTo>
                  <a:pt x="0" y="3392996"/>
                </a:lnTo>
                <a:lnTo>
                  <a:pt x="0" y="272834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50E21-EDA7-B8A4-DE27-DBB333A98901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3AEA1D7-58F1-7DF3-8DD6-D1230A346F93}"/>
              </a:ext>
            </a:extLst>
          </p:cNvPr>
          <p:cNvSpPr/>
          <p:nvPr userDrawn="1"/>
        </p:nvSpPr>
        <p:spPr>
          <a:xfrm>
            <a:off x="0" y="852210"/>
            <a:ext cx="4555449" cy="6005791"/>
          </a:xfrm>
          <a:custGeom>
            <a:avLst/>
            <a:gdLst>
              <a:gd name="connsiteX0" fmla="*/ 0 w 4555449"/>
              <a:gd name="connsiteY0" fmla="*/ 0 h 6005791"/>
              <a:gd name="connsiteX1" fmla="*/ 4481203 w 4555449"/>
              <a:gd name="connsiteY1" fmla="*/ 4481204 h 6005791"/>
              <a:gd name="connsiteX2" fmla="*/ 4481203 w 4555449"/>
              <a:gd name="connsiteY2" fmla="*/ 4840522 h 6005791"/>
              <a:gd name="connsiteX3" fmla="*/ 3315934 w 4555449"/>
              <a:gd name="connsiteY3" fmla="*/ 6005791 h 6005791"/>
              <a:gd name="connsiteX4" fmla="*/ 2717293 w 4555449"/>
              <a:gd name="connsiteY4" fmla="*/ 6005791 h 6005791"/>
              <a:gd name="connsiteX5" fmla="*/ 4062553 w 4555449"/>
              <a:gd name="connsiteY5" fmla="*/ 4660530 h 6005791"/>
              <a:gd name="connsiteX6" fmla="*/ 0 w 4555449"/>
              <a:gd name="connsiteY6" fmla="*/ 597975 h 600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5449" h="6005791">
                <a:moveTo>
                  <a:pt x="0" y="0"/>
                </a:moveTo>
                <a:lnTo>
                  <a:pt x="4481203" y="4481204"/>
                </a:lnTo>
                <a:cubicBezTo>
                  <a:pt x="4580198" y="4580200"/>
                  <a:pt x="4580198" y="4741526"/>
                  <a:pt x="4481203" y="4840522"/>
                </a:cubicBezTo>
                <a:lnTo>
                  <a:pt x="3315934" y="6005791"/>
                </a:lnTo>
                <a:lnTo>
                  <a:pt x="2717293" y="6005791"/>
                </a:lnTo>
                <a:lnTo>
                  <a:pt x="4062553" y="4660530"/>
                </a:lnTo>
                <a:lnTo>
                  <a:pt x="0" y="597975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72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C025702-5674-BD89-5E9E-8C773B7CF1D4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5D5B455-069D-E64D-8068-368BDBD57ACB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FA06FD-0F7F-DBF9-09F4-3AB80F2275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831B8548-75EF-F606-196A-78FB9CA596D9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100104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ereit fürs Glasfaserland? | März 2024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A9F91588-2B36-A559-FF46-B27AE0C9A7D5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6D16D87-13C6-B738-D5A2-0FF713DFDE8F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6F3802-CED9-9F76-7325-76DFCCF287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C6921161-00D5-3EE7-CA54-871E10466326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3437200E-6A14-CD69-B069-4975CCB7E99F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FC05AFE-6032-026F-6E6E-FEA7AFD8A476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9600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Vielen Dank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B79B655-0C7A-80BA-7810-21DE44783CC0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B7A18F-3F6B-D5EF-06A3-95FEE2932A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6F9CE72-000E-76F2-AA2A-4EAA6D04ED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62946" y="1251518"/>
            <a:ext cx="9829055" cy="5606482"/>
          </a:xfrm>
          <a:custGeom>
            <a:avLst/>
            <a:gdLst>
              <a:gd name="connsiteX0" fmla="*/ 6234914 w 9829055"/>
              <a:gd name="connsiteY0" fmla="*/ 0 h 5606482"/>
              <a:gd name="connsiteX1" fmla="*/ 7313533 w 9829055"/>
              <a:gd name="connsiteY1" fmla="*/ 446982 h 5606482"/>
              <a:gd name="connsiteX2" fmla="*/ 8972024 w 9829055"/>
              <a:gd name="connsiteY2" fmla="*/ 2105473 h 5606482"/>
              <a:gd name="connsiteX3" fmla="*/ 9829054 w 9829055"/>
              <a:gd name="connsiteY3" fmla="*/ 2962503 h 5606482"/>
              <a:gd name="connsiteX4" fmla="*/ 9829054 w 9829055"/>
              <a:gd name="connsiteY4" fmla="*/ 3192777 h 5606482"/>
              <a:gd name="connsiteX5" fmla="*/ 9829055 w 9829055"/>
              <a:gd name="connsiteY5" fmla="*/ 3192778 h 5606482"/>
              <a:gd name="connsiteX6" fmla="*/ 9829055 w 9829055"/>
              <a:gd name="connsiteY6" fmla="*/ 5606482 h 5606482"/>
              <a:gd name="connsiteX7" fmla="*/ 9061647 w 9829055"/>
              <a:gd name="connsiteY7" fmla="*/ 5606482 h 5606482"/>
              <a:gd name="connsiteX8" fmla="*/ 8648248 w 9829055"/>
              <a:gd name="connsiteY8" fmla="*/ 5606482 h 5606482"/>
              <a:gd name="connsiteX9" fmla="*/ 4170361 w 9829055"/>
              <a:gd name="connsiteY9" fmla="*/ 5606482 h 5606482"/>
              <a:gd name="connsiteX10" fmla="*/ 3805063 w 9829055"/>
              <a:gd name="connsiteY10" fmla="*/ 5606482 h 5606482"/>
              <a:gd name="connsiteX11" fmla="*/ 575850 w 9829055"/>
              <a:gd name="connsiteY11" fmla="*/ 5606482 h 5606482"/>
              <a:gd name="connsiteX12" fmla="*/ 575851 w 9829055"/>
              <a:gd name="connsiteY12" fmla="*/ 5606481 h 5606482"/>
              <a:gd name="connsiteX13" fmla="*/ 0 w 9829055"/>
              <a:gd name="connsiteY13" fmla="*/ 5606481 h 5606482"/>
              <a:gd name="connsiteX14" fmla="*/ 404665 w 9829055"/>
              <a:gd name="connsiteY14" fmla="*/ 5201817 h 5606482"/>
              <a:gd name="connsiteX15" fmla="*/ 401460 w 9829055"/>
              <a:gd name="connsiteY15" fmla="*/ 5201817 h 5606482"/>
              <a:gd name="connsiteX16" fmla="*/ 5156628 w 9829055"/>
              <a:gd name="connsiteY16" fmla="*/ 446648 h 5606482"/>
              <a:gd name="connsiteX17" fmla="*/ 6234914 w 9829055"/>
              <a:gd name="connsiteY17" fmla="*/ 0 h 560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829055" h="5606482">
                <a:moveTo>
                  <a:pt x="6234914" y="0"/>
                </a:moveTo>
                <a:cubicBezTo>
                  <a:pt x="6642230" y="0"/>
                  <a:pt x="7025546" y="158661"/>
                  <a:pt x="7313533" y="446982"/>
                </a:cubicBezTo>
                <a:lnTo>
                  <a:pt x="8972024" y="2105473"/>
                </a:lnTo>
                <a:lnTo>
                  <a:pt x="9829054" y="2962503"/>
                </a:lnTo>
                <a:lnTo>
                  <a:pt x="9829054" y="3192777"/>
                </a:lnTo>
                <a:lnTo>
                  <a:pt x="9829055" y="3192778"/>
                </a:lnTo>
                <a:lnTo>
                  <a:pt x="9829055" y="5606482"/>
                </a:lnTo>
                <a:lnTo>
                  <a:pt x="9061647" y="5606482"/>
                </a:lnTo>
                <a:lnTo>
                  <a:pt x="8648248" y="5606482"/>
                </a:lnTo>
                <a:lnTo>
                  <a:pt x="4170361" y="5606482"/>
                </a:lnTo>
                <a:lnTo>
                  <a:pt x="3805063" y="5606482"/>
                </a:lnTo>
                <a:lnTo>
                  <a:pt x="575850" y="5606482"/>
                </a:lnTo>
                <a:lnTo>
                  <a:pt x="575851" y="5606481"/>
                </a:lnTo>
                <a:lnTo>
                  <a:pt x="0" y="5606481"/>
                </a:lnTo>
                <a:lnTo>
                  <a:pt x="404665" y="5201817"/>
                </a:lnTo>
                <a:lnTo>
                  <a:pt x="401460" y="5201817"/>
                </a:lnTo>
                <a:lnTo>
                  <a:pt x="5156628" y="446648"/>
                </a:lnTo>
                <a:cubicBezTo>
                  <a:pt x="5444614" y="158661"/>
                  <a:pt x="5827599" y="0"/>
                  <a:pt x="6234914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088772"/>
            <a:ext cx="6264012" cy="1656334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28169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EnBW Sans Text" pitchFamily="2" charset="0"/>
                <a:ea typeface="EnBW Sans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7EA83E9-B2E8-37E9-9452-72A9D22BD25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BAB260E-5D20-B5CA-B078-792CF29803A8}"/>
              </a:ext>
            </a:extLst>
          </p:cNvPr>
          <p:cNvSpPr/>
          <p:nvPr userDrawn="1"/>
        </p:nvSpPr>
        <p:spPr>
          <a:xfrm rot="16200000">
            <a:off x="-738228" y="4435312"/>
            <a:ext cx="3160916" cy="1684460"/>
          </a:xfrm>
          <a:custGeom>
            <a:avLst/>
            <a:gdLst>
              <a:gd name="connsiteX0" fmla="*/ 3160916 w 3160916"/>
              <a:gd name="connsiteY0" fmla="*/ 0 h 1684460"/>
              <a:gd name="connsiteX1" fmla="*/ 1552469 w 3160916"/>
              <a:gd name="connsiteY1" fmla="*/ 1608447 h 1684460"/>
              <a:gd name="connsiteX2" fmla="*/ 1368743 w 3160916"/>
              <a:gd name="connsiteY2" fmla="*/ 1684460 h 1684460"/>
              <a:gd name="connsiteX3" fmla="*/ 1368401 w 3160916"/>
              <a:gd name="connsiteY3" fmla="*/ 1684119 h 1684460"/>
              <a:gd name="connsiteX4" fmla="*/ 1184677 w 3160916"/>
              <a:gd name="connsiteY4" fmla="*/ 1608106 h 1684460"/>
              <a:gd name="connsiteX5" fmla="*/ 0 w 3160916"/>
              <a:gd name="connsiteY5" fmla="*/ 423428 h 1684460"/>
              <a:gd name="connsiteX6" fmla="*/ 0 w 3160916"/>
              <a:gd name="connsiteY6" fmla="*/ 0 h 1684460"/>
              <a:gd name="connsiteX7" fmla="*/ 188760 w 3160916"/>
              <a:gd name="connsiteY7" fmla="*/ 0 h 1684460"/>
              <a:gd name="connsiteX8" fmla="*/ 1368402 w 3160916"/>
              <a:gd name="connsiteY8" fmla="*/ 1179642 h 1684460"/>
              <a:gd name="connsiteX9" fmla="*/ 2548045 w 3160916"/>
              <a:gd name="connsiteY9" fmla="*/ 0 h 168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0916" h="1684460">
                <a:moveTo>
                  <a:pt x="3160916" y="0"/>
                </a:moveTo>
                <a:lnTo>
                  <a:pt x="1552469" y="1608447"/>
                </a:lnTo>
                <a:cubicBezTo>
                  <a:pt x="1501679" y="1659235"/>
                  <a:pt x="1435212" y="1684460"/>
                  <a:pt x="1368743" y="1684460"/>
                </a:cubicBezTo>
                <a:lnTo>
                  <a:pt x="1368401" y="1684119"/>
                </a:lnTo>
                <a:cubicBezTo>
                  <a:pt x="1301933" y="1684119"/>
                  <a:pt x="1235465" y="1658895"/>
                  <a:pt x="1184677" y="1608106"/>
                </a:cubicBezTo>
                <a:lnTo>
                  <a:pt x="0" y="423428"/>
                </a:lnTo>
                <a:lnTo>
                  <a:pt x="0" y="0"/>
                </a:lnTo>
                <a:lnTo>
                  <a:pt x="188760" y="0"/>
                </a:lnTo>
                <a:lnTo>
                  <a:pt x="1368402" y="1179642"/>
                </a:lnTo>
                <a:lnTo>
                  <a:pt x="2548045" y="0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910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C025702-5674-BD89-5E9E-8C773B7CF1D4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5D5B455-069D-E64D-8068-368BDBD57ACB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EnBW Sans Text" pitchFamily="2" charset="0"/>
                <a:ea typeface="EnBW Sans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FA06FD-0F7F-DBF9-09F4-3AB80F2275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831B8548-75EF-F606-196A-78FB9CA596D9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accent4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33321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16834FA-F71D-7893-A385-2EFCA82EED8F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B2E9C2C-C70B-5703-AD2A-A269D80441B3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6000" dirty="0">
                <a:solidFill>
                  <a:srgbClr val="322A26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rgbClr val="322A26"/>
                </a:solidFill>
                <a:latin typeface="EnBW Sans Text" pitchFamily="2" charset="0"/>
                <a:ea typeface="EnBW Sans Text" pitchFamily="2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/>
              <a:t>Referent | Datum, O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73B8FBF-E700-4CCC-EC0E-2A789BF01B5E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tx1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5F89C61-2668-B61F-93C3-DACDA3B89C0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0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0A8A0F6-121C-99E3-C6D4-49EA97848329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EnBW Sans Text" pitchFamily="50" charset="0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EnBW Sans Text" pitchFamily="50" charset="0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EnBW Sans Text" pitchFamily="50" charset="0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EnBW Sans Text" pitchFamily="50" charset="0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EnBW Sans Text" pitchFamily="50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EnBW Sans Text" pitchFamily="50" charset="0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EnBW Sans Text" pitchFamily="50" charset="0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EnBW Sans Text" pitchFamily="50" charset="0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EnBW Sans Text" pitchFamily="50" charset="0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EnBW Sans Text" pitchFamily="50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FB99CEF-E734-4EAF-6A14-9E54EC72762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58EBF3A-AC09-E4F8-9811-B7D9A84BA0DB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accent4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6DCE44F-B7DE-09D6-2AE1-F51BF5F61437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666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27E5CC45-781C-FC6F-EB51-F71B50CDB6A3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EnBW Sans Text" pitchFamily="50" charset="0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EnBW Sans Text" pitchFamily="50" charset="0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EnBW Sans Text" pitchFamily="50" charset="0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EnBW Sans Text" pitchFamily="50" charset="0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EnBW Sans Text" pitchFamily="50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EnBW Sans Text" pitchFamily="50" charset="0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EnBW Sans Text" pitchFamily="50" charset="0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EnBW Sans Text" pitchFamily="50" charset="0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EnBW Sans Text" pitchFamily="50" charset="0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EnBW Sans Text" pitchFamily="50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79DAA2-2265-E29C-E9C6-2A8148B09F1A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tx1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C7C01E-893A-7C06-3C83-CAE7BCC434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3F533E25-CA77-0A63-9B67-F1B068BD50F0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64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C308276-889B-9898-A365-84340E0A8D66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F5CC28BB-C65D-3DA4-E056-5B5CB63BD949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anchor="t" anchorCtr="0"/>
          <a:lstStyle>
            <a:lvl1pPr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wrap="none" anchor="t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EnBW Sans Headline bold" pitchFamily="2" charset="0"/>
                <a:ea typeface="EnBW Sans Headline bold" pitchFamily="2" charset="0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7849715-44FE-A8BC-DA9D-FA9D2A10BE2C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accent4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8D295BE-A361-617D-89B1-1BCCE50A1E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58FBC1E-216D-F15B-B55B-676B996A0716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489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16834FA-F71D-7893-A385-2EFCA82EED8F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B2E9C2C-C70B-5703-AD2A-A269D80441B3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6000" dirty="0">
                <a:solidFill>
                  <a:srgbClr val="322A26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Referent | Datum, O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73B8FBF-E700-4CCC-EC0E-2A789BF01B5E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5F89C61-2668-B61F-93C3-DACDA3B89C0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8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5831124-7FE8-5C31-E3CF-C3640C6B9BE3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23900" dirty="0">
                <a:solidFill>
                  <a:schemeClr val="tx1"/>
                </a:solidFill>
                <a:latin typeface="EnBW Sans Headline bold" pitchFamily="2" charset="0"/>
                <a:ea typeface="EnBW Sans Headline bold" pitchFamily="2" charset="0"/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X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ADBC0D63-17C3-210F-4FA9-01063F4152A7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FB43CA-63B3-3D74-3CF8-F62FAF85B96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tx1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3A4EC8-569E-275B-1EA3-30EF3624EE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BB8E9A7-59B5-8DB2-6351-3B6D467A9F17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221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044113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343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59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175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 Zu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C906616-F44C-2953-8FCF-7D32AD1B06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22959" y="2614736"/>
            <a:ext cx="8469042" cy="4243264"/>
          </a:xfrm>
          <a:custGeom>
            <a:avLst/>
            <a:gdLst>
              <a:gd name="connsiteX0" fmla="*/ 4874901 w 8469042"/>
              <a:gd name="connsiteY0" fmla="*/ 0 h 4243264"/>
              <a:gd name="connsiteX1" fmla="*/ 5953520 w 8469042"/>
              <a:gd name="connsiteY1" fmla="*/ 446982 h 4243264"/>
              <a:gd name="connsiteX2" fmla="*/ 7612011 w 8469042"/>
              <a:gd name="connsiteY2" fmla="*/ 2105473 h 4243264"/>
              <a:gd name="connsiteX3" fmla="*/ 8469041 w 8469042"/>
              <a:gd name="connsiteY3" fmla="*/ 2962503 h 4243264"/>
              <a:gd name="connsiteX4" fmla="*/ 8469041 w 8469042"/>
              <a:gd name="connsiteY4" fmla="*/ 3192777 h 4243264"/>
              <a:gd name="connsiteX5" fmla="*/ 8469042 w 8469042"/>
              <a:gd name="connsiteY5" fmla="*/ 3192778 h 4243264"/>
              <a:gd name="connsiteX6" fmla="*/ 8469042 w 8469042"/>
              <a:gd name="connsiteY6" fmla="*/ 4243264 h 4243264"/>
              <a:gd name="connsiteX7" fmla="*/ 0 w 8469042"/>
              <a:gd name="connsiteY7" fmla="*/ 4243264 h 4243264"/>
              <a:gd name="connsiteX8" fmla="*/ 3796615 w 8469042"/>
              <a:gd name="connsiteY8" fmla="*/ 446648 h 4243264"/>
              <a:gd name="connsiteX9" fmla="*/ 4874901 w 8469042"/>
              <a:gd name="connsiteY9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9042" h="4243264">
                <a:moveTo>
                  <a:pt x="4874901" y="0"/>
                </a:moveTo>
                <a:cubicBezTo>
                  <a:pt x="5282217" y="0"/>
                  <a:pt x="5665533" y="158661"/>
                  <a:pt x="5953520" y="446982"/>
                </a:cubicBezTo>
                <a:lnTo>
                  <a:pt x="7612011" y="2105473"/>
                </a:lnTo>
                <a:lnTo>
                  <a:pt x="8469041" y="2962503"/>
                </a:lnTo>
                <a:lnTo>
                  <a:pt x="8469041" y="3192777"/>
                </a:lnTo>
                <a:lnTo>
                  <a:pt x="8469042" y="3192778"/>
                </a:lnTo>
                <a:lnTo>
                  <a:pt x="8469042" y="4243264"/>
                </a:lnTo>
                <a:lnTo>
                  <a:pt x="0" y="4243264"/>
                </a:lnTo>
                <a:lnTo>
                  <a:pt x="3796615" y="446648"/>
                </a:lnTo>
                <a:cubicBezTo>
                  <a:pt x="4084601" y="158661"/>
                  <a:pt x="4467587" y="0"/>
                  <a:pt x="4874901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07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3085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62254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02566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805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911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0A8A0F6-121C-99E3-C6D4-49EA97848329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FB99CEF-E734-4EAF-6A14-9E54EC72762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58EBF3A-AC09-E4F8-9811-B7D9A84BA0DB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6DCE44F-B7DE-09D6-2AE1-F51BF5F61437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EnBW Sans Text" pitchFamily="50" charset="0"/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EnBW Sans Text" pitchFamily="50" charset="0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EnBW Sans Text" pitchFamily="50" charset="0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DA3FCF58-F8B7-0633-2038-5AE1A48A4AFE}"/>
              </a:ext>
            </a:extLst>
          </p:cNvPr>
          <p:cNvSpPr/>
          <p:nvPr userDrawn="1"/>
        </p:nvSpPr>
        <p:spPr>
          <a:xfrm flipV="1">
            <a:off x="4004735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6A892B12-274A-F782-3830-80F6B9F1CC46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87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A051152-F29D-F781-2D8F-B1B9E6393C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1804" cy="6319154"/>
          </a:xfrm>
          <a:custGeom>
            <a:avLst/>
            <a:gdLst>
              <a:gd name="connsiteX0" fmla="*/ 0 w 4331804"/>
              <a:gd name="connsiteY0" fmla="*/ 0 h 6319154"/>
              <a:gd name="connsiteX1" fmla="*/ 8848 w 4331804"/>
              <a:gd name="connsiteY1" fmla="*/ 0 h 6319154"/>
              <a:gd name="connsiteX2" fmla="*/ 1487488 w 4331804"/>
              <a:gd name="connsiteY2" fmla="*/ 0 h 6319154"/>
              <a:gd name="connsiteX3" fmla="*/ 3604025 w 4331804"/>
              <a:gd name="connsiteY3" fmla="*/ 0 h 6319154"/>
              <a:gd name="connsiteX4" fmla="*/ 3884822 w 4331804"/>
              <a:gd name="connsiteY4" fmla="*/ 280797 h 6319154"/>
              <a:gd name="connsiteX5" fmla="*/ 4331804 w 4331804"/>
              <a:gd name="connsiteY5" fmla="*/ 1359418 h 6319154"/>
              <a:gd name="connsiteX6" fmla="*/ 3885156 w 4331804"/>
              <a:gd name="connsiteY6" fmla="*/ 2437705 h 6319154"/>
              <a:gd name="connsiteX7" fmla="*/ 860398 w 4331804"/>
              <a:gd name="connsiteY7" fmla="*/ 5462463 h 6319154"/>
              <a:gd name="connsiteX8" fmla="*/ 856691 w 4331804"/>
              <a:gd name="connsiteY8" fmla="*/ 5462463 h 6319154"/>
              <a:gd name="connsiteX9" fmla="*/ 0 w 4331804"/>
              <a:gd name="connsiteY9" fmla="*/ 6319154 h 6319154"/>
              <a:gd name="connsiteX10" fmla="*/ 0 w 4331804"/>
              <a:gd name="connsiteY10" fmla="*/ 3392996 h 6319154"/>
              <a:gd name="connsiteX11" fmla="*/ 0 w 4331804"/>
              <a:gd name="connsiteY11" fmla="*/ 2728349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0"/>
                </a:moveTo>
                <a:lnTo>
                  <a:pt x="8848" y="0"/>
                </a:lnTo>
                <a:lnTo>
                  <a:pt x="1487488" y="0"/>
                </a:lnTo>
                <a:lnTo>
                  <a:pt x="3604025" y="0"/>
                </a:lnTo>
                <a:lnTo>
                  <a:pt x="3884822" y="280797"/>
                </a:lnTo>
                <a:cubicBezTo>
                  <a:pt x="4173144" y="568786"/>
                  <a:pt x="4331804" y="952102"/>
                  <a:pt x="4331804" y="1359418"/>
                </a:cubicBezTo>
                <a:cubicBezTo>
                  <a:pt x="4331804" y="1766733"/>
                  <a:pt x="4173144" y="2149717"/>
                  <a:pt x="3885156" y="2437705"/>
                </a:cubicBezTo>
                <a:lnTo>
                  <a:pt x="860398" y="5462463"/>
                </a:lnTo>
                <a:lnTo>
                  <a:pt x="856691" y="5462463"/>
                </a:lnTo>
                <a:lnTo>
                  <a:pt x="0" y="6319154"/>
                </a:lnTo>
                <a:lnTo>
                  <a:pt x="0" y="3392996"/>
                </a:lnTo>
                <a:lnTo>
                  <a:pt x="0" y="272834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EnBW Sans Text" pitchFamily="50" charset="0"/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EnBW Sans Text" pitchFamily="50" charset="0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EnBW Sans Text" pitchFamily="50" charset="0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963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50E21-EDA7-B8A4-DE27-DBB333A98901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EnBW Sans Text" pitchFamily="50" charset="0"/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EnBW Sans Text" pitchFamily="50" charset="0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EnBW Sans Text" pitchFamily="50" charset="0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3AEA1D7-58F1-7DF3-8DD6-D1230A346F93}"/>
              </a:ext>
            </a:extLst>
          </p:cNvPr>
          <p:cNvSpPr/>
          <p:nvPr userDrawn="1"/>
        </p:nvSpPr>
        <p:spPr>
          <a:xfrm>
            <a:off x="0" y="852210"/>
            <a:ext cx="4555449" cy="6005791"/>
          </a:xfrm>
          <a:custGeom>
            <a:avLst/>
            <a:gdLst>
              <a:gd name="connsiteX0" fmla="*/ 0 w 4555449"/>
              <a:gd name="connsiteY0" fmla="*/ 0 h 6005791"/>
              <a:gd name="connsiteX1" fmla="*/ 4481203 w 4555449"/>
              <a:gd name="connsiteY1" fmla="*/ 4481204 h 6005791"/>
              <a:gd name="connsiteX2" fmla="*/ 4481203 w 4555449"/>
              <a:gd name="connsiteY2" fmla="*/ 4840522 h 6005791"/>
              <a:gd name="connsiteX3" fmla="*/ 3315934 w 4555449"/>
              <a:gd name="connsiteY3" fmla="*/ 6005791 h 6005791"/>
              <a:gd name="connsiteX4" fmla="*/ 2717293 w 4555449"/>
              <a:gd name="connsiteY4" fmla="*/ 6005791 h 6005791"/>
              <a:gd name="connsiteX5" fmla="*/ 4062553 w 4555449"/>
              <a:gd name="connsiteY5" fmla="*/ 4660530 h 6005791"/>
              <a:gd name="connsiteX6" fmla="*/ 0 w 4555449"/>
              <a:gd name="connsiteY6" fmla="*/ 597975 h 600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5449" h="6005791">
                <a:moveTo>
                  <a:pt x="0" y="0"/>
                </a:moveTo>
                <a:lnTo>
                  <a:pt x="4481203" y="4481204"/>
                </a:lnTo>
                <a:cubicBezTo>
                  <a:pt x="4580198" y="4580200"/>
                  <a:pt x="4580198" y="4741526"/>
                  <a:pt x="4481203" y="4840522"/>
                </a:cubicBezTo>
                <a:lnTo>
                  <a:pt x="3315934" y="6005791"/>
                </a:lnTo>
                <a:lnTo>
                  <a:pt x="2717293" y="6005791"/>
                </a:lnTo>
                <a:lnTo>
                  <a:pt x="4062553" y="4660530"/>
                </a:lnTo>
                <a:lnTo>
                  <a:pt x="0" y="597975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034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EnBW Sans Text" pitchFamily="50" charset="0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  <a:latin typeface="EnBW Sans Text" pitchFamily="50" charset="0"/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  <a:latin typeface="EnBW Sans Text" pitchFamily="50" charset="0"/>
              </a:defRPr>
            </a:lvl3pPr>
            <a:lvl4pPr marL="810000">
              <a:defRPr sz="1600">
                <a:solidFill>
                  <a:schemeClr val="tx1"/>
                </a:solidFill>
                <a:latin typeface="EnBW Sans Text" pitchFamily="50" charset="0"/>
              </a:defRPr>
            </a:lvl4pPr>
            <a:lvl5pPr marL="1080000">
              <a:defRPr sz="1600">
                <a:solidFill>
                  <a:schemeClr val="tx1"/>
                </a:solidFill>
                <a:latin typeface="EnBW Sans Text" pitchFamily="50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3253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EnBW Sans Text" pitchFamily="50" charset="0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  <a:latin typeface="EnBW Sans Text" pitchFamily="50" charset="0"/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  <a:latin typeface="EnBW Sans Text" pitchFamily="50" charset="0"/>
              </a:defRPr>
            </a:lvl3pPr>
            <a:lvl4pPr marL="810000">
              <a:defRPr sz="1600">
                <a:solidFill>
                  <a:schemeClr val="bg1"/>
                </a:solidFill>
                <a:latin typeface="EnBW Sans Text" pitchFamily="50" charset="0"/>
              </a:defRPr>
            </a:lvl4pPr>
            <a:lvl5pPr marL="1080000">
              <a:defRPr sz="1600">
                <a:solidFill>
                  <a:schemeClr val="bg1"/>
                </a:solidFill>
                <a:latin typeface="EnBW Sans Text" pitchFamily="50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ereit fürs Glasfaserland? | Dezember 2025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73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A9F91588-2B36-A559-FF46-B27AE0C9A7D5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6D16D87-13C6-B738-D5A2-0FF713DFDE8F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6F3802-CED9-9F76-7325-76DFCCF287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C6921161-00D5-3EE7-CA54-871E10466326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accent4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16686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3437200E-6A14-CD69-B069-4975CCB7E99F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FC05AFE-6032-026F-6E6E-FEA7AFD8A476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9600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Vielen Dank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B79B655-0C7A-80BA-7810-21DE44783CC0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10">
                <a:solidFill>
                  <a:schemeClr val="tx1"/>
                </a:solidFill>
                <a:latin typeface="EnBW Sans Text" pitchFamily="50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B7A18F-3F6B-D5EF-06A3-95FEE2932A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0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6F9CE72-000E-76F2-AA2A-4EAA6D04ED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62946" y="1251518"/>
            <a:ext cx="9829055" cy="5606482"/>
          </a:xfrm>
          <a:custGeom>
            <a:avLst/>
            <a:gdLst>
              <a:gd name="connsiteX0" fmla="*/ 6234914 w 9829055"/>
              <a:gd name="connsiteY0" fmla="*/ 0 h 5606482"/>
              <a:gd name="connsiteX1" fmla="*/ 7313533 w 9829055"/>
              <a:gd name="connsiteY1" fmla="*/ 446982 h 5606482"/>
              <a:gd name="connsiteX2" fmla="*/ 8972024 w 9829055"/>
              <a:gd name="connsiteY2" fmla="*/ 2105473 h 5606482"/>
              <a:gd name="connsiteX3" fmla="*/ 9829054 w 9829055"/>
              <a:gd name="connsiteY3" fmla="*/ 2962503 h 5606482"/>
              <a:gd name="connsiteX4" fmla="*/ 9829054 w 9829055"/>
              <a:gd name="connsiteY4" fmla="*/ 3192777 h 5606482"/>
              <a:gd name="connsiteX5" fmla="*/ 9829055 w 9829055"/>
              <a:gd name="connsiteY5" fmla="*/ 3192778 h 5606482"/>
              <a:gd name="connsiteX6" fmla="*/ 9829055 w 9829055"/>
              <a:gd name="connsiteY6" fmla="*/ 5606482 h 5606482"/>
              <a:gd name="connsiteX7" fmla="*/ 9061647 w 9829055"/>
              <a:gd name="connsiteY7" fmla="*/ 5606482 h 5606482"/>
              <a:gd name="connsiteX8" fmla="*/ 8648248 w 9829055"/>
              <a:gd name="connsiteY8" fmla="*/ 5606482 h 5606482"/>
              <a:gd name="connsiteX9" fmla="*/ 4170361 w 9829055"/>
              <a:gd name="connsiteY9" fmla="*/ 5606482 h 5606482"/>
              <a:gd name="connsiteX10" fmla="*/ 3805063 w 9829055"/>
              <a:gd name="connsiteY10" fmla="*/ 5606482 h 5606482"/>
              <a:gd name="connsiteX11" fmla="*/ 575850 w 9829055"/>
              <a:gd name="connsiteY11" fmla="*/ 5606482 h 5606482"/>
              <a:gd name="connsiteX12" fmla="*/ 575851 w 9829055"/>
              <a:gd name="connsiteY12" fmla="*/ 5606481 h 5606482"/>
              <a:gd name="connsiteX13" fmla="*/ 0 w 9829055"/>
              <a:gd name="connsiteY13" fmla="*/ 5606481 h 5606482"/>
              <a:gd name="connsiteX14" fmla="*/ 404665 w 9829055"/>
              <a:gd name="connsiteY14" fmla="*/ 5201817 h 5606482"/>
              <a:gd name="connsiteX15" fmla="*/ 401460 w 9829055"/>
              <a:gd name="connsiteY15" fmla="*/ 5201817 h 5606482"/>
              <a:gd name="connsiteX16" fmla="*/ 5156628 w 9829055"/>
              <a:gd name="connsiteY16" fmla="*/ 446648 h 5606482"/>
              <a:gd name="connsiteX17" fmla="*/ 6234914 w 9829055"/>
              <a:gd name="connsiteY17" fmla="*/ 0 h 560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829055" h="5606482">
                <a:moveTo>
                  <a:pt x="6234914" y="0"/>
                </a:moveTo>
                <a:cubicBezTo>
                  <a:pt x="6642230" y="0"/>
                  <a:pt x="7025546" y="158661"/>
                  <a:pt x="7313533" y="446982"/>
                </a:cubicBezTo>
                <a:lnTo>
                  <a:pt x="8972024" y="2105473"/>
                </a:lnTo>
                <a:lnTo>
                  <a:pt x="9829054" y="2962503"/>
                </a:lnTo>
                <a:lnTo>
                  <a:pt x="9829054" y="3192777"/>
                </a:lnTo>
                <a:lnTo>
                  <a:pt x="9829055" y="3192778"/>
                </a:lnTo>
                <a:lnTo>
                  <a:pt x="9829055" y="5606482"/>
                </a:lnTo>
                <a:lnTo>
                  <a:pt x="9061647" y="5606482"/>
                </a:lnTo>
                <a:lnTo>
                  <a:pt x="8648248" y="5606482"/>
                </a:lnTo>
                <a:lnTo>
                  <a:pt x="4170361" y="5606482"/>
                </a:lnTo>
                <a:lnTo>
                  <a:pt x="3805063" y="5606482"/>
                </a:lnTo>
                <a:lnTo>
                  <a:pt x="575850" y="5606482"/>
                </a:lnTo>
                <a:lnTo>
                  <a:pt x="575851" y="5606481"/>
                </a:lnTo>
                <a:lnTo>
                  <a:pt x="0" y="5606481"/>
                </a:lnTo>
                <a:lnTo>
                  <a:pt x="404665" y="5201817"/>
                </a:lnTo>
                <a:lnTo>
                  <a:pt x="401460" y="5201817"/>
                </a:lnTo>
                <a:lnTo>
                  <a:pt x="5156628" y="446648"/>
                </a:lnTo>
                <a:cubicBezTo>
                  <a:pt x="5444614" y="158661"/>
                  <a:pt x="5827599" y="0"/>
                  <a:pt x="6234914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088772"/>
            <a:ext cx="5975350" cy="1656334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28169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7EA83E9-B2E8-37E9-9452-72A9D22BD25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BAB260E-5D20-B5CA-B078-792CF29803A8}"/>
              </a:ext>
            </a:extLst>
          </p:cNvPr>
          <p:cNvSpPr/>
          <p:nvPr userDrawn="1"/>
        </p:nvSpPr>
        <p:spPr>
          <a:xfrm rot="16200000">
            <a:off x="-738228" y="4435312"/>
            <a:ext cx="3160916" cy="1684460"/>
          </a:xfrm>
          <a:custGeom>
            <a:avLst/>
            <a:gdLst>
              <a:gd name="connsiteX0" fmla="*/ 3160916 w 3160916"/>
              <a:gd name="connsiteY0" fmla="*/ 0 h 1684460"/>
              <a:gd name="connsiteX1" fmla="*/ 1552469 w 3160916"/>
              <a:gd name="connsiteY1" fmla="*/ 1608447 h 1684460"/>
              <a:gd name="connsiteX2" fmla="*/ 1368743 w 3160916"/>
              <a:gd name="connsiteY2" fmla="*/ 1684460 h 1684460"/>
              <a:gd name="connsiteX3" fmla="*/ 1368401 w 3160916"/>
              <a:gd name="connsiteY3" fmla="*/ 1684119 h 1684460"/>
              <a:gd name="connsiteX4" fmla="*/ 1184677 w 3160916"/>
              <a:gd name="connsiteY4" fmla="*/ 1608106 h 1684460"/>
              <a:gd name="connsiteX5" fmla="*/ 0 w 3160916"/>
              <a:gd name="connsiteY5" fmla="*/ 423428 h 1684460"/>
              <a:gd name="connsiteX6" fmla="*/ 0 w 3160916"/>
              <a:gd name="connsiteY6" fmla="*/ 0 h 1684460"/>
              <a:gd name="connsiteX7" fmla="*/ 188760 w 3160916"/>
              <a:gd name="connsiteY7" fmla="*/ 0 h 1684460"/>
              <a:gd name="connsiteX8" fmla="*/ 1368402 w 3160916"/>
              <a:gd name="connsiteY8" fmla="*/ 1179642 h 1684460"/>
              <a:gd name="connsiteX9" fmla="*/ 2548045 w 3160916"/>
              <a:gd name="connsiteY9" fmla="*/ 0 h 168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0916" h="1684460">
                <a:moveTo>
                  <a:pt x="3160916" y="0"/>
                </a:moveTo>
                <a:lnTo>
                  <a:pt x="1552469" y="1608447"/>
                </a:lnTo>
                <a:cubicBezTo>
                  <a:pt x="1501679" y="1659235"/>
                  <a:pt x="1435212" y="1684460"/>
                  <a:pt x="1368743" y="1684460"/>
                </a:cubicBezTo>
                <a:lnTo>
                  <a:pt x="1368401" y="1684119"/>
                </a:lnTo>
                <a:cubicBezTo>
                  <a:pt x="1301933" y="1684119"/>
                  <a:pt x="1235465" y="1658895"/>
                  <a:pt x="1184677" y="1608106"/>
                </a:cubicBezTo>
                <a:lnTo>
                  <a:pt x="0" y="423428"/>
                </a:lnTo>
                <a:lnTo>
                  <a:pt x="0" y="0"/>
                </a:lnTo>
                <a:lnTo>
                  <a:pt x="188760" y="0"/>
                </a:lnTo>
                <a:lnTo>
                  <a:pt x="1368402" y="1179642"/>
                </a:lnTo>
                <a:lnTo>
                  <a:pt x="2548045" y="0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920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C025702-5674-BD89-5E9E-8C773B7CF1D4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5D5B455-069D-E64D-8068-368BDBD57ACB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FA06FD-0F7F-DBF9-09F4-3AB80F22756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831B8548-75EF-F606-196A-78FB9CA596D9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65918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16834FA-F71D-7893-A385-2EFCA82EED8F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B2E9C2C-C70B-5703-AD2A-A269D80441B3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6000" dirty="0">
                <a:solidFill>
                  <a:srgbClr val="322A26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Referent | Datum, O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73B8FBF-E700-4CCC-EC0E-2A789BF01B5E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5F89C61-2668-B61F-93C3-DACDA3B89C0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50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27E5CC45-781C-FC6F-EB51-F71B50CDB6A3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79DAA2-2265-E29C-E9C6-2A8148B09F1A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C7C01E-893A-7C06-3C83-CAE7BCC434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3F533E25-CA77-0A63-9B67-F1B068BD50F0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36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0A8A0F6-121C-99E3-C6D4-49EA97848329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FB99CEF-E734-4EAF-6A14-9E54EC72762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58EBF3A-AC09-E4F8-9811-B7D9A84BA0DB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6DCE44F-B7DE-09D6-2AE1-F51BF5F61437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71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27E5CC45-781C-FC6F-EB51-F71B50CDB6A3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79DAA2-2265-E29C-E9C6-2A8148B09F1A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C7C01E-893A-7C06-3C83-CAE7BCC434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3F533E25-CA77-0A63-9B67-F1B068BD50F0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49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C308276-889B-9898-A365-84340E0A8D66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F5CC28BB-C65D-3DA4-E056-5B5CB63BD949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anchor="t" anchorCtr="0"/>
          <a:lstStyle>
            <a:lvl1pPr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wrap="none" anchor="t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7849715-44FE-A8BC-DA9D-FA9D2A10BE2C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8D295BE-A361-617D-89B1-1BCCE50A1E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58FBC1E-216D-F15B-B55B-676B996A0716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878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5831124-7FE8-5C31-E3CF-C3640C6B9BE3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23900" dirty="0">
                <a:solidFill>
                  <a:schemeClr val="tx1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X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ADBC0D63-17C3-210F-4FA9-01063F4152A7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FB43CA-63B3-3D74-3CF8-F62FAF85B96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3A4EC8-569E-275B-1EA3-30EF3624EE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BB8E9A7-59B5-8DB2-6351-3B6D467A9F17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488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044113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701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395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992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 Zu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C906616-F44C-2953-8FCF-7D32AD1B06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22959" y="2614736"/>
            <a:ext cx="8469042" cy="4243264"/>
          </a:xfrm>
          <a:custGeom>
            <a:avLst/>
            <a:gdLst>
              <a:gd name="connsiteX0" fmla="*/ 4874901 w 8469042"/>
              <a:gd name="connsiteY0" fmla="*/ 0 h 4243264"/>
              <a:gd name="connsiteX1" fmla="*/ 5953520 w 8469042"/>
              <a:gd name="connsiteY1" fmla="*/ 446982 h 4243264"/>
              <a:gd name="connsiteX2" fmla="*/ 7612011 w 8469042"/>
              <a:gd name="connsiteY2" fmla="*/ 2105473 h 4243264"/>
              <a:gd name="connsiteX3" fmla="*/ 8469041 w 8469042"/>
              <a:gd name="connsiteY3" fmla="*/ 2962503 h 4243264"/>
              <a:gd name="connsiteX4" fmla="*/ 8469041 w 8469042"/>
              <a:gd name="connsiteY4" fmla="*/ 3192777 h 4243264"/>
              <a:gd name="connsiteX5" fmla="*/ 8469042 w 8469042"/>
              <a:gd name="connsiteY5" fmla="*/ 3192778 h 4243264"/>
              <a:gd name="connsiteX6" fmla="*/ 8469042 w 8469042"/>
              <a:gd name="connsiteY6" fmla="*/ 4243264 h 4243264"/>
              <a:gd name="connsiteX7" fmla="*/ 0 w 8469042"/>
              <a:gd name="connsiteY7" fmla="*/ 4243264 h 4243264"/>
              <a:gd name="connsiteX8" fmla="*/ 3796615 w 8469042"/>
              <a:gd name="connsiteY8" fmla="*/ 446648 h 4243264"/>
              <a:gd name="connsiteX9" fmla="*/ 4874901 w 8469042"/>
              <a:gd name="connsiteY9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9042" h="4243264">
                <a:moveTo>
                  <a:pt x="4874901" y="0"/>
                </a:moveTo>
                <a:cubicBezTo>
                  <a:pt x="5282217" y="0"/>
                  <a:pt x="5665533" y="158661"/>
                  <a:pt x="5953520" y="446982"/>
                </a:cubicBezTo>
                <a:lnTo>
                  <a:pt x="7612011" y="2105473"/>
                </a:lnTo>
                <a:lnTo>
                  <a:pt x="8469041" y="2962503"/>
                </a:lnTo>
                <a:lnTo>
                  <a:pt x="8469041" y="3192777"/>
                </a:lnTo>
                <a:lnTo>
                  <a:pt x="8469042" y="3192778"/>
                </a:lnTo>
                <a:lnTo>
                  <a:pt x="8469042" y="4243264"/>
                </a:lnTo>
                <a:lnTo>
                  <a:pt x="0" y="4243264"/>
                </a:lnTo>
                <a:lnTo>
                  <a:pt x="3796615" y="446648"/>
                </a:lnTo>
                <a:cubicBezTo>
                  <a:pt x="4084601" y="158661"/>
                  <a:pt x="4467587" y="0"/>
                  <a:pt x="4874901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668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9182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18727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C308276-889B-9898-A365-84340E0A8D66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F5CC28BB-C65D-3DA4-E056-5B5CB63BD949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anchor="t" anchorCtr="0"/>
          <a:lstStyle>
            <a:lvl1pPr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wrap="none" anchor="t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7849715-44FE-A8BC-DA9D-FA9D2A10BE2C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8D295BE-A361-617D-89B1-1BCCE50A1EA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58FBC1E-216D-F15B-B55B-676B996A0716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30845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448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77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DA3FCF58-F8B7-0633-2038-5AE1A48A4AFE}"/>
              </a:ext>
            </a:extLst>
          </p:cNvPr>
          <p:cNvSpPr/>
          <p:nvPr userDrawn="1"/>
        </p:nvSpPr>
        <p:spPr>
          <a:xfrm flipV="1">
            <a:off x="4004735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6A892B12-274A-F782-3830-80F6B9F1CC46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A051152-F29D-F781-2D8F-B1B9E6393C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1804" cy="6319154"/>
          </a:xfrm>
          <a:custGeom>
            <a:avLst/>
            <a:gdLst>
              <a:gd name="connsiteX0" fmla="*/ 0 w 4331804"/>
              <a:gd name="connsiteY0" fmla="*/ 0 h 6319154"/>
              <a:gd name="connsiteX1" fmla="*/ 8848 w 4331804"/>
              <a:gd name="connsiteY1" fmla="*/ 0 h 6319154"/>
              <a:gd name="connsiteX2" fmla="*/ 1487488 w 4331804"/>
              <a:gd name="connsiteY2" fmla="*/ 0 h 6319154"/>
              <a:gd name="connsiteX3" fmla="*/ 3604025 w 4331804"/>
              <a:gd name="connsiteY3" fmla="*/ 0 h 6319154"/>
              <a:gd name="connsiteX4" fmla="*/ 3884822 w 4331804"/>
              <a:gd name="connsiteY4" fmla="*/ 280797 h 6319154"/>
              <a:gd name="connsiteX5" fmla="*/ 4331804 w 4331804"/>
              <a:gd name="connsiteY5" fmla="*/ 1359418 h 6319154"/>
              <a:gd name="connsiteX6" fmla="*/ 3885156 w 4331804"/>
              <a:gd name="connsiteY6" fmla="*/ 2437705 h 6319154"/>
              <a:gd name="connsiteX7" fmla="*/ 860398 w 4331804"/>
              <a:gd name="connsiteY7" fmla="*/ 5462463 h 6319154"/>
              <a:gd name="connsiteX8" fmla="*/ 856691 w 4331804"/>
              <a:gd name="connsiteY8" fmla="*/ 5462463 h 6319154"/>
              <a:gd name="connsiteX9" fmla="*/ 0 w 4331804"/>
              <a:gd name="connsiteY9" fmla="*/ 6319154 h 6319154"/>
              <a:gd name="connsiteX10" fmla="*/ 0 w 4331804"/>
              <a:gd name="connsiteY10" fmla="*/ 3392996 h 6319154"/>
              <a:gd name="connsiteX11" fmla="*/ 0 w 4331804"/>
              <a:gd name="connsiteY11" fmla="*/ 2728349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0"/>
                </a:moveTo>
                <a:lnTo>
                  <a:pt x="8848" y="0"/>
                </a:lnTo>
                <a:lnTo>
                  <a:pt x="1487488" y="0"/>
                </a:lnTo>
                <a:lnTo>
                  <a:pt x="3604025" y="0"/>
                </a:lnTo>
                <a:lnTo>
                  <a:pt x="3884822" y="280797"/>
                </a:lnTo>
                <a:cubicBezTo>
                  <a:pt x="4173144" y="568786"/>
                  <a:pt x="4331804" y="952102"/>
                  <a:pt x="4331804" y="1359418"/>
                </a:cubicBezTo>
                <a:cubicBezTo>
                  <a:pt x="4331804" y="1766733"/>
                  <a:pt x="4173144" y="2149717"/>
                  <a:pt x="3885156" y="2437705"/>
                </a:cubicBezTo>
                <a:lnTo>
                  <a:pt x="860398" y="5462463"/>
                </a:lnTo>
                <a:lnTo>
                  <a:pt x="856691" y="5462463"/>
                </a:lnTo>
                <a:lnTo>
                  <a:pt x="0" y="6319154"/>
                </a:lnTo>
                <a:lnTo>
                  <a:pt x="0" y="3392996"/>
                </a:lnTo>
                <a:lnTo>
                  <a:pt x="0" y="272834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80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50E21-EDA7-B8A4-DE27-DBB333A98901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3AEA1D7-58F1-7DF3-8DD6-D1230A346F93}"/>
              </a:ext>
            </a:extLst>
          </p:cNvPr>
          <p:cNvSpPr/>
          <p:nvPr userDrawn="1"/>
        </p:nvSpPr>
        <p:spPr>
          <a:xfrm>
            <a:off x="0" y="852210"/>
            <a:ext cx="4555449" cy="6005791"/>
          </a:xfrm>
          <a:custGeom>
            <a:avLst/>
            <a:gdLst>
              <a:gd name="connsiteX0" fmla="*/ 0 w 4555449"/>
              <a:gd name="connsiteY0" fmla="*/ 0 h 6005791"/>
              <a:gd name="connsiteX1" fmla="*/ 4481203 w 4555449"/>
              <a:gd name="connsiteY1" fmla="*/ 4481204 h 6005791"/>
              <a:gd name="connsiteX2" fmla="*/ 4481203 w 4555449"/>
              <a:gd name="connsiteY2" fmla="*/ 4840522 h 6005791"/>
              <a:gd name="connsiteX3" fmla="*/ 3315934 w 4555449"/>
              <a:gd name="connsiteY3" fmla="*/ 6005791 h 6005791"/>
              <a:gd name="connsiteX4" fmla="*/ 2717293 w 4555449"/>
              <a:gd name="connsiteY4" fmla="*/ 6005791 h 6005791"/>
              <a:gd name="connsiteX5" fmla="*/ 4062553 w 4555449"/>
              <a:gd name="connsiteY5" fmla="*/ 4660530 h 6005791"/>
              <a:gd name="connsiteX6" fmla="*/ 0 w 4555449"/>
              <a:gd name="connsiteY6" fmla="*/ 597975 h 600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5449" h="6005791">
                <a:moveTo>
                  <a:pt x="0" y="0"/>
                </a:moveTo>
                <a:lnTo>
                  <a:pt x="4481203" y="4481204"/>
                </a:lnTo>
                <a:cubicBezTo>
                  <a:pt x="4580198" y="4580200"/>
                  <a:pt x="4580198" y="4741526"/>
                  <a:pt x="4481203" y="4840522"/>
                </a:cubicBezTo>
                <a:lnTo>
                  <a:pt x="3315934" y="6005791"/>
                </a:lnTo>
                <a:lnTo>
                  <a:pt x="2717293" y="6005791"/>
                </a:lnTo>
                <a:lnTo>
                  <a:pt x="4062553" y="4660530"/>
                </a:lnTo>
                <a:lnTo>
                  <a:pt x="0" y="597975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520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2308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ereit fürs Glasfaserland? | März 2024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779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A9F91588-2B36-A559-FF46-B27AE0C9A7D5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6D16D87-13C6-B738-D5A2-0FF713DFDE8F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6F3802-CED9-9F76-7325-76DFCCF287B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C6921161-00D5-3EE7-CA54-871E10466326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227537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3437200E-6A14-CD69-B069-4975CCB7E99F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FC05AFE-6032-026F-6E6E-FEA7AFD8A476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9600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Vielen Dank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B79B655-0C7A-80BA-7810-21DE44783CC0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B7A18F-3F6B-D5EF-06A3-95FEE2932A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5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5831124-7FE8-5C31-E3CF-C3640C6B9BE3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23900" dirty="0">
                <a:solidFill>
                  <a:schemeClr val="tx1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X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ADBC0D63-17C3-210F-4FA9-01063F4152A7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FB43CA-63B3-3D74-3CF8-F62FAF85B96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3A4EC8-569E-275B-1EA3-30EF3624EE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BB8E9A7-59B5-8DB2-6351-3B6D467A9F17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396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044113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März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image" Target="../media/image4.svg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20D257-8A9B-EDBE-C35A-557C83464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003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25" imgH="424" progId="TCLayout.ActiveDocument.1">
                  <p:embed/>
                </p:oleObj>
              </mc:Choice>
              <mc:Fallback>
                <p:oleObj name="think-cell Folie" r:id="rId2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0D257-8A9B-EDBE-C35A-557C83464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044113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Bereit fürs Glasfaserland? | März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6814D405-5A85-E5BD-560F-1D66360E6C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039349" y="368300"/>
            <a:ext cx="1744663" cy="32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38" r:id="rId2"/>
    <p:sldLayoutId id="2147483740" r:id="rId3"/>
    <p:sldLayoutId id="2147483718" r:id="rId4"/>
    <p:sldLayoutId id="2147483747" r:id="rId5"/>
    <p:sldLayoutId id="2147483720" r:id="rId6"/>
    <p:sldLayoutId id="2147483741" r:id="rId7"/>
    <p:sldLayoutId id="2147483722" r:id="rId8"/>
    <p:sldLayoutId id="2147483723" r:id="rId9"/>
    <p:sldLayoutId id="2147483724" r:id="rId10"/>
    <p:sldLayoutId id="2147483742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43" r:id="rId17"/>
    <p:sldLayoutId id="2147483745" r:id="rId18"/>
    <p:sldLayoutId id="2147483746" r:id="rId19"/>
    <p:sldLayoutId id="2147483731" r:id="rId20"/>
    <p:sldLayoutId id="2147483732" r:id="rId21"/>
    <p:sldLayoutId id="2147483733" r:id="rId22"/>
    <p:sldLayoutId id="214748373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 userDrawn="1">
          <p15:clr>
            <a:srgbClr val="F26B43"/>
          </p15:clr>
        </p15:guide>
        <p15:guide id="15" pos="6584" userDrawn="1">
          <p15:clr>
            <a:srgbClr val="F26B43"/>
          </p15:clr>
        </p15:guide>
        <p15:guide id="16" orient="horz" pos="436" userDrawn="1">
          <p15:clr>
            <a:srgbClr val="F26B43"/>
          </p15:clr>
        </p15:guide>
        <p15:guide id="17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20D257-8A9B-EDBE-C35A-557C83464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003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25" imgH="424" progId="TCLayout.ActiveDocument.1">
                  <p:embed/>
                </p:oleObj>
              </mc:Choice>
              <mc:Fallback>
                <p:oleObj name="think-cell Folie" r:id="rId2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0D257-8A9B-EDBE-C35A-557C83464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044113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  <a:latin typeface="EnBW Sans Text" pitchFamily="50" charset="0"/>
              </a:defRPr>
            </a:lvl1pPr>
          </a:lstStyle>
          <a:p>
            <a:r>
              <a:rPr lang="de-DE"/>
              <a:t>Bereit fürs Glasfaserland? | Dezember 2025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  <a:latin typeface="EnBW Sans Text" pitchFamily="50" charset="0"/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6814D405-5A85-E5BD-560F-1D66360E6C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039349" y="368300"/>
            <a:ext cx="1744663" cy="32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29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EnBW Sans Headline bold" pitchFamily="2" charset="0"/>
          <a:ea typeface="EnBW Sans Headline bold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EnBW Sans Text" pitchFamily="50" charset="0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>
          <p15:clr>
            <a:srgbClr val="F26B43"/>
          </p15:clr>
        </p15:guide>
        <p15:guide id="15" pos="6584">
          <p15:clr>
            <a:srgbClr val="F26B43"/>
          </p15:clr>
        </p15:guide>
        <p15:guide id="16" orient="horz" pos="436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20D257-8A9B-EDBE-C35A-557C83464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003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25" imgH="424" progId="TCLayout.ActiveDocument.1">
                  <p:embed/>
                </p:oleObj>
              </mc:Choice>
              <mc:Fallback>
                <p:oleObj name="think-cell Folie" r:id="rId2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0D257-8A9B-EDBE-C35A-557C83464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044113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Bereit fürs Glasfaserland? | März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6814D405-5A85-E5BD-560F-1D66360E6CF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039349" y="368300"/>
            <a:ext cx="1744663" cy="32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69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>
          <p15:clr>
            <a:srgbClr val="F26B43"/>
          </p15:clr>
        </p15:guide>
        <p15:guide id="15" pos="6584">
          <p15:clr>
            <a:srgbClr val="F26B43"/>
          </p15:clr>
        </p15:guide>
        <p15:guide id="16" orient="horz" pos="436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8.svg"/><Relationship Id="rId12" Type="http://schemas.openxmlformats.org/officeDocument/2006/relationships/image" Target="../media/image33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.xml"/><Relationship Id="rId6" Type="http://schemas.openxmlformats.org/officeDocument/2006/relationships/image" Target="../media/image27.jpeg"/><Relationship Id="rId11" Type="http://schemas.openxmlformats.org/officeDocument/2006/relationships/image" Target="../media/image32.svg"/><Relationship Id="rId5" Type="http://schemas.openxmlformats.org/officeDocument/2006/relationships/image" Target="../media/image1.emf"/><Relationship Id="rId10" Type="http://schemas.openxmlformats.org/officeDocument/2006/relationships/image" Target="../media/image31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5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8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Relationship Id="rId6" Type="http://schemas.openxmlformats.org/officeDocument/2006/relationships/image" Target="../media/image11.svg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5.sv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9.xml"/><Relationship Id="rId6" Type="http://schemas.openxmlformats.org/officeDocument/2006/relationships/image" Target="../media/image14.svg"/><Relationship Id="rId5" Type="http://schemas.openxmlformats.org/officeDocument/2006/relationships/image" Target="../media/image13.svg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.svg"/><Relationship Id="rId4" Type="http://schemas.openxmlformats.org/officeDocument/2006/relationships/hyperlink" Target="https://www.netcom-bw.de/breitbandausbau/7-schritte-zum-schnellen-internet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5.svg"/><Relationship Id="rId4" Type="http://schemas.openxmlformats.org/officeDocument/2006/relationships/image" Target="../media/image24.png"/><Relationship Id="rId9" Type="http://schemas.openxmlformats.org/officeDocument/2006/relationships/image" Target="../media/image26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E84802B-9A37-A4BE-2136-012266D64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4802B-9A37-A4BE-2136-012266D64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platzhalter 15">
            <a:extLst>
              <a:ext uri="{FF2B5EF4-FFF2-40B4-BE49-F238E27FC236}">
                <a16:creationId xmlns:a16="http://schemas.microsoft.com/office/drawing/2014/main" id="{2DE725E2-3A5E-29E1-6F91-80DB74635CA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86" b="7286"/>
          <a:stretch/>
        </p:blipFill>
        <p:spPr/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0BA17D50-B3B8-4603-85F4-C36A245DBF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sz="4600" b="1" dirty="0">
                <a:latin typeface="EnBW Sans Headline" pitchFamily="50" charset="0"/>
                <a:ea typeface="EnBW Sans Headline" pitchFamily="50" charset="0"/>
              </a:rPr>
              <a:t>Bereit fürs Glasfaserland,</a:t>
            </a:r>
            <a:br>
              <a:rPr lang="de-DE" sz="4600" b="1">
                <a:latin typeface="EnBW Sans Headline" pitchFamily="50" charset="0"/>
                <a:ea typeface="EnBW Sans Headline" pitchFamily="50" charset="0"/>
              </a:rPr>
            </a:br>
            <a:r>
              <a:rPr lang="de-DE" sz="4600" b="1">
                <a:latin typeface="EnBW Sans Headline" pitchFamily="50" charset="0"/>
                <a:ea typeface="EnBW Sans Headline" pitchFamily="50" charset="0"/>
              </a:rPr>
              <a:t>Neuhausen ob Eck?</a:t>
            </a:r>
            <a:endParaRPr lang="de-DE" sz="4600" b="1" dirty="0">
              <a:latin typeface="EnBW Sans Headline" pitchFamily="50" charset="0"/>
              <a:ea typeface="EnBW Sans Headline" pitchFamily="50" charset="0"/>
            </a:endParaRP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1246060D-EE70-B7B8-F844-ECCD069556B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>
              <a:latin typeface="EnBW Sans Headline" pitchFamily="50" charset="0"/>
              <a:ea typeface="EnBW Sans Headline" pitchFamily="50" charset="0"/>
            </a:endParaRPr>
          </a:p>
          <a:p>
            <a:r>
              <a:rPr lang="de-DE" dirty="0">
                <a:latin typeface="EnBW Sans Headline" pitchFamily="50" charset="0"/>
                <a:ea typeface="EnBW Sans Headline" pitchFamily="50" charset="0"/>
              </a:rPr>
              <a:t>Benjamin Haberlandt, Michael Lisa</a:t>
            </a:r>
            <a:br>
              <a:rPr lang="de-DE" dirty="0">
                <a:latin typeface="EnBW Sans Headline" pitchFamily="50" charset="0"/>
                <a:ea typeface="EnBW Sans Headline" pitchFamily="50" charset="0"/>
              </a:rPr>
            </a:br>
            <a:r>
              <a:rPr lang="de-DE" dirty="0">
                <a:latin typeface="EnBW Sans Headline" pitchFamily="50" charset="0"/>
                <a:ea typeface="EnBW Sans Headline" pitchFamily="50" charset="0"/>
              </a:rPr>
              <a:t>Mai 2026</a:t>
            </a:r>
          </a:p>
          <a:p>
            <a:endParaRPr lang="de-DE" dirty="0">
              <a:latin typeface="EnBW Sans Headline" pitchFamily="50" charset="0"/>
              <a:ea typeface="EnBW Sans Headline" pitchFamily="50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53086679-7601-00EC-3264-5EDE64744725}"/>
              </a:ext>
            </a:extLst>
          </p:cNvPr>
          <p:cNvSpPr/>
          <p:nvPr/>
        </p:nvSpPr>
        <p:spPr>
          <a:xfrm flipH="1">
            <a:off x="8359434" y="1557373"/>
            <a:ext cx="3832566" cy="5300627"/>
          </a:xfrm>
          <a:custGeom>
            <a:avLst/>
            <a:gdLst>
              <a:gd name="connsiteX0" fmla="*/ 0 w 3832566"/>
              <a:gd name="connsiteY0" fmla="*/ 0 h 5300627"/>
              <a:gd name="connsiteX1" fmla="*/ 0 w 3832566"/>
              <a:gd name="connsiteY1" fmla="*/ 597975 h 5300627"/>
              <a:gd name="connsiteX2" fmla="*/ 1199456 w 3832566"/>
              <a:gd name="connsiteY2" fmla="*/ 1797432 h 5300627"/>
              <a:gd name="connsiteX3" fmla="*/ 1199456 w 3832566"/>
              <a:gd name="connsiteY3" fmla="*/ 1797368 h 5300627"/>
              <a:gd name="connsiteX4" fmla="*/ 3339670 w 3832566"/>
              <a:gd name="connsiteY4" fmla="*/ 3937583 h 5300627"/>
              <a:gd name="connsiteX5" fmla="*/ 1976627 w 3832566"/>
              <a:gd name="connsiteY5" fmla="*/ 5300627 h 5300627"/>
              <a:gd name="connsiteX6" fmla="*/ 2575269 w 3832566"/>
              <a:gd name="connsiteY6" fmla="*/ 5300627 h 5300627"/>
              <a:gd name="connsiteX7" fmla="*/ 3758320 w 3832566"/>
              <a:gd name="connsiteY7" fmla="*/ 4117575 h 5300627"/>
              <a:gd name="connsiteX8" fmla="*/ 3758320 w 3832566"/>
              <a:gd name="connsiteY8" fmla="*/ 3758257 h 5300627"/>
              <a:gd name="connsiteX9" fmla="*/ 443372 w 3832566"/>
              <a:gd name="connsiteY9" fmla="*/ 443309 h 5300627"/>
              <a:gd name="connsiteX10" fmla="*/ 443372 w 3832566"/>
              <a:gd name="connsiteY10" fmla="*/ 443372 h 5300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32566" h="5300627">
                <a:moveTo>
                  <a:pt x="0" y="0"/>
                </a:moveTo>
                <a:lnTo>
                  <a:pt x="0" y="597975"/>
                </a:lnTo>
                <a:lnTo>
                  <a:pt x="1199456" y="1797432"/>
                </a:lnTo>
                <a:lnTo>
                  <a:pt x="1199456" y="1797368"/>
                </a:lnTo>
                <a:lnTo>
                  <a:pt x="3339670" y="3937583"/>
                </a:lnTo>
                <a:lnTo>
                  <a:pt x="1976627" y="5300627"/>
                </a:lnTo>
                <a:lnTo>
                  <a:pt x="2575269" y="5300627"/>
                </a:lnTo>
                <a:lnTo>
                  <a:pt x="3758320" y="4117575"/>
                </a:lnTo>
                <a:cubicBezTo>
                  <a:pt x="3857315" y="4018580"/>
                  <a:pt x="3857315" y="3857253"/>
                  <a:pt x="3758320" y="3758257"/>
                </a:cubicBezTo>
                <a:lnTo>
                  <a:pt x="443372" y="443309"/>
                </a:lnTo>
                <a:lnTo>
                  <a:pt x="443372" y="443372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1556512-6327-DB57-E801-FF3ECBC325DB}"/>
              </a:ext>
            </a:extLst>
          </p:cNvPr>
          <p:cNvSpPr/>
          <p:nvPr/>
        </p:nvSpPr>
        <p:spPr>
          <a:xfrm rot="16200000">
            <a:off x="-738228" y="4435312"/>
            <a:ext cx="3160916" cy="1684460"/>
          </a:xfrm>
          <a:custGeom>
            <a:avLst/>
            <a:gdLst>
              <a:gd name="connsiteX0" fmla="*/ 3160916 w 3160916"/>
              <a:gd name="connsiteY0" fmla="*/ 0 h 1684460"/>
              <a:gd name="connsiteX1" fmla="*/ 1552469 w 3160916"/>
              <a:gd name="connsiteY1" fmla="*/ 1608447 h 1684460"/>
              <a:gd name="connsiteX2" fmla="*/ 1368743 w 3160916"/>
              <a:gd name="connsiteY2" fmla="*/ 1684460 h 1684460"/>
              <a:gd name="connsiteX3" fmla="*/ 1368401 w 3160916"/>
              <a:gd name="connsiteY3" fmla="*/ 1684119 h 1684460"/>
              <a:gd name="connsiteX4" fmla="*/ 1184677 w 3160916"/>
              <a:gd name="connsiteY4" fmla="*/ 1608106 h 1684460"/>
              <a:gd name="connsiteX5" fmla="*/ 0 w 3160916"/>
              <a:gd name="connsiteY5" fmla="*/ 423428 h 1684460"/>
              <a:gd name="connsiteX6" fmla="*/ 0 w 3160916"/>
              <a:gd name="connsiteY6" fmla="*/ 0 h 1684460"/>
              <a:gd name="connsiteX7" fmla="*/ 188760 w 3160916"/>
              <a:gd name="connsiteY7" fmla="*/ 0 h 1684460"/>
              <a:gd name="connsiteX8" fmla="*/ 1368402 w 3160916"/>
              <a:gd name="connsiteY8" fmla="*/ 1179642 h 1684460"/>
              <a:gd name="connsiteX9" fmla="*/ 2548045 w 3160916"/>
              <a:gd name="connsiteY9" fmla="*/ 0 h 168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0916" h="1684460">
                <a:moveTo>
                  <a:pt x="3160916" y="0"/>
                </a:moveTo>
                <a:lnTo>
                  <a:pt x="1552469" y="1608447"/>
                </a:lnTo>
                <a:cubicBezTo>
                  <a:pt x="1501679" y="1659235"/>
                  <a:pt x="1435212" y="1684460"/>
                  <a:pt x="1368743" y="1684460"/>
                </a:cubicBezTo>
                <a:lnTo>
                  <a:pt x="1368401" y="1684119"/>
                </a:lnTo>
                <a:cubicBezTo>
                  <a:pt x="1301933" y="1684119"/>
                  <a:pt x="1235465" y="1658895"/>
                  <a:pt x="1184677" y="1608106"/>
                </a:cubicBezTo>
                <a:lnTo>
                  <a:pt x="0" y="423428"/>
                </a:lnTo>
                <a:lnTo>
                  <a:pt x="0" y="0"/>
                </a:lnTo>
                <a:lnTo>
                  <a:pt x="188760" y="0"/>
                </a:lnTo>
                <a:lnTo>
                  <a:pt x="1368402" y="1179642"/>
                </a:lnTo>
                <a:lnTo>
                  <a:pt x="2548045" y="0"/>
                </a:ln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482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56D6E8F-FE70-926E-528B-95EE423973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9412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6D6E8F-FE70-926E-528B-95EE423973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2" descr="Fritzbox 7590 Router von AVM">
            <a:extLst>
              <a:ext uri="{FF2B5EF4-FFF2-40B4-BE49-F238E27FC236}">
                <a16:creationId xmlns:a16="http://schemas.microsoft.com/office/drawing/2014/main" id="{41520FDE-9E1E-8740-EA4A-CDF94E619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9832" y="1761893"/>
            <a:ext cx="2040673" cy="976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9CF7C23-9F48-5200-FF2D-C7018AAAE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Machen Sie mehr aus Ihrem Internetanschlus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3B01472A-A6D2-3051-58C3-5D6C08C458F5}"/>
              </a:ext>
            </a:extLst>
          </p:cNvPr>
          <p:cNvCxnSpPr>
            <a:cxnSpLocks/>
          </p:cNvCxnSpPr>
          <p:nvPr/>
        </p:nvCxnSpPr>
        <p:spPr bwMode="gray"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96BAFF3-0EC8-9D0B-44F7-32886F176BBC}"/>
              </a:ext>
            </a:extLst>
          </p:cNvPr>
          <p:cNvCxnSpPr>
            <a:cxnSpLocks/>
          </p:cNvCxnSpPr>
          <p:nvPr/>
        </p:nvCxnSpPr>
        <p:spPr bwMode="gray">
          <a:xfrm>
            <a:off x="407988" y="4077494"/>
            <a:ext cx="54006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8F653DF0-85AB-9A71-66A8-1707CE09B625}"/>
              </a:ext>
            </a:extLst>
          </p:cNvPr>
          <p:cNvCxnSpPr>
            <a:cxnSpLocks/>
          </p:cNvCxnSpPr>
          <p:nvPr/>
        </p:nvCxnSpPr>
        <p:spPr bwMode="gray">
          <a:xfrm>
            <a:off x="6383338" y="4077494"/>
            <a:ext cx="54006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D77AA57-4F3C-E6CB-B022-A21CBC7EBEF2}"/>
              </a:ext>
            </a:extLst>
          </p:cNvPr>
          <p:cNvSpPr txBox="1">
            <a:spLocks/>
          </p:cNvSpPr>
          <p:nvPr/>
        </p:nvSpPr>
        <p:spPr>
          <a:xfrm>
            <a:off x="6383338" y="1844675"/>
            <a:ext cx="5400694" cy="2052373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  <a:latin typeface="EnBW Sans Headline" pitchFamily="50" charset="0"/>
                <a:ea typeface="EnBW Sans Headline" pitchFamily="50" charset="0"/>
              </a:rPr>
              <a:t>waipu.tv</a:t>
            </a:r>
          </a:p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Die ideale Lösung für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Fernsehen in HD-Qualität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1EC601FC-9BEE-19F2-8145-2D816207BF45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400694" cy="2052373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  <a:latin typeface="EnBW Sans Headline" pitchFamily="50" charset="0"/>
                <a:ea typeface="EnBW Sans Headline" pitchFamily="50" charset="0"/>
              </a:rPr>
              <a:t>WLAN-fähigen Router</a:t>
            </a:r>
          </a:p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Entspannt und sicher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ins Internet star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664B4649-207C-3355-14AB-F7DB187A3190}"/>
              </a:ext>
            </a:extLst>
          </p:cNvPr>
          <p:cNvSpPr txBox="1">
            <a:spLocks/>
          </p:cNvSpPr>
          <p:nvPr/>
        </p:nvSpPr>
        <p:spPr>
          <a:xfrm>
            <a:off x="6383338" y="4257455"/>
            <a:ext cx="5400694" cy="2015861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800" dirty="0">
                <a:latin typeface="EnBW Sans Headline" pitchFamily="50" charset="0"/>
                <a:ea typeface="EnBW Sans Headline" pitchFamily="50" charset="0"/>
              </a:rPr>
              <a:t>GDATA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Der umfassende Sofortschutz vor Viren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und allen Gefahren des Internet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7C47456-F356-69DF-0481-86EF3EF12361}"/>
              </a:ext>
            </a:extLst>
          </p:cNvPr>
          <p:cNvSpPr txBox="1">
            <a:spLocks/>
          </p:cNvSpPr>
          <p:nvPr/>
        </p:nvSpPr>
        <p:spPr>
          <a:xfrm>
            <a:off x="407987" y="4257455"/>
            <a:ext cx="5400694" cy="2015861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  <a:latin typeface="EnBW Sans Headline" pitchFamily="50" charset="0"/>
                <a:ea typeface="EnBW Sans Headline" pitchFamily="50" charset="0"/>
              </a:rPr>
              <a:t>Telefonie-Optionen</a:t>
            </a:r>
          </a:p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Für Ihren Telefonanschluss 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C0273C5F-4BC8-0F28-4FBD-7EB4B5CE1FC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83338" y="4270370"/>
            <a:ext cx="645340" cy="577416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764A223B-44D7-FFE1-1DFE-C434B96FC7F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0971" y="4274946"/>
            <a:ext cx="585979" cy="585979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74008C2A-B52D-6D01-2319-0DFE8F6C1DF1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83338" y="1904999"/>
            <a:ext cx="708674" cy="576000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FE86F940-9B21-BE8A-D7BE-CF9CB9E0A62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478" y="1833236"/>
            <a:ext cx="1979030" cy="577039"/>
          </a:xfrm>
          <a:prstGeom prst="rect">
            <a:avLst/>
          </a:prstGeom>
        </p:spPr>
      </p:pic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9AD939B2-93A3-133F-A3FB-FBA7420F64D0}"/>
              </a:ext>
            </a:extLst>
          </p:cNvPr>
          <p:cNvSpPr txBox="1">
            <a:spLocks/>
          </p:cNvSpPr>
          <p:nvPr/>
        </p:nvSpPr>
        <p:spPr>
          <a:xfrm>
            <a:off x="1310018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 err="1">
                <a:latin typeface="EnBW Sans Text" pitchFamily="50" charset="0"/>
                <a:ea typeface="EnBW Sans Text" pitchFamily="50" charset="0"/>
              </a:rPr>
              <a:t>FRITZ!Box</a:t>
            </a: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 7530 AX</a:t>
            </a:r>
            <a:br>
              <a:rPr lang="de-DE" sz="1400" b="1" dirty="0"/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(Standardrouter) 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99,00 €</a:t>
            </a:r>
            <a:b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einmalig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15C0EACF-D2F4-D0AA-5270-A37F7886C85D}"/>
              </a:ext>
            </a:extLst>
          </p:cNvPr>
          <p:cNvSpPr txBox="1">
            <a:spLocks/>
          </p:cNvSpPr>
          <p:nvPr/>
        </p:nvSpPr>
        <p:spPr>
          <a:xfrm>
            <a:off x="3638347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 err="1">
                <a:latin typeface="EnBW Sans Text" pitchFamily="50" charset="0"/>
                <a:ea typeface="EnBW Sans Text" pitchFamily="50" charset="0"/>
              </a:rPr>
              <a:t>FRITZ!Box</a:t>
            </a: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 7590 AX v2.0</a:t>
            </a:r>
            <a:br>
              <a:rPr lang="de-DE" sz="1400" dirty="0"/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(Premiumrouter) 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169,00 €</a:t>
            </a:r>
            <a:b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einmalig </a:t>
            </a: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E01A2E92-A68A-F20E-AF74-C650A62651F4}"/>
              </a:ext>
            </a:extLst>
          </p:cNvPr>
          <p:cNvSpPr txBox="1">
            <a:spLocks/>
          </p:cNvSpPr>
          <p:nvPr/>
        </p:nvSpPr>
        <p:spPr>
          <a:xfrm>
            <a:off x="7296303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Comfort</a:t>
            </a:r>
            <a:br>
              <a:rPr lang="de-DE" sz="1400" b="1" dirty="0"/>
            </a:b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7,90 €</a:t>
            </a:r>
            <a:b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monatlich</a:t>
            </a:r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B0FF5B31-536A-FD00-AF97-730529AB5860}"/>
              </a:ext>
            </a:extLst>
          </p:cNvPr>
          <p:cNvSpPr txBox="1">
            <a:spLocks/>
          </p:cNvSpPr>
          <p:nvPr/>
        </p:nvSpPr>
        <p:spPr>
          <a:xfrm>
            <a:off x="9624632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 err="1">
                <a:latin typeface="EnBW Sans Text" pitchFamily="50" charset="0"/>
                <a:ea typeface="EnBW Sans Text" pitchFamily="50" charset="0"/>
              </a:rPr>
              <a:t>Perfect</a:t>
            </a: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 Plus</a:t>
            </a:r>
          </a:p>
          <a:p>
            <a:pPr lvl="1">
              <a:spcAft>
                <a:spcPts val="0"/>
              </a:spcAft>
            </a:pP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11,90 €</a:t>
            </a:r>
            <a:b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monatlich</a:t>
            </a:r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82B59DC8-808D-C7FE-9C05-2CC5F67843B5}"/>
              </a:ext>
            </a:extLst>
          </p:cNvPr>
          <p:cNvSpPr txBox="1">
            <a:spLocks/>
          </p:cNvSpPr>
          <p:nvPr/>
        </p:nvSpPr>
        <p:spPr>
          <a:xfrm>
            <a:off x="1310018" y="5304755"/>
            <a:ext cx="2160000" cy="788541"/>
          </a:xfrm>
          <a:prstGeom prst="rect">
            <a:avLst/>
          </a:prstGeom>
        </p:spPr>
        <p:txBody>
          <a:bodyPr vert="horz" lIns="360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Minutenpakete Mobilfunk und Europa von 60-240 Minuten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43DBB08-6F05-178F-49AE-72417F15C81C}"/>
              </a:ext>
            </a:extLst>
          </p:cNvPr>
          <p:cNvSpPr txBox="1">
            <a:spLocks/>
          </p:cNvSpPr>
          <p:nvPr/>
        </p:nvSpPr>
        <p:spPr>
          <a:xfrm>
            <a:off x="3638347" y="5304755"/>
            <a:ext cx="2160000" cy="788541"/>
          </a:xfrm>
          <a:prstGeom prst="rect">
            <a:avLst/>
          </a:prstGeom>
        </p:spPr>
        <p:txBody>
          <a:bodyPr vert="horz" lIns="360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3. und 4. Rufnummer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optional möglich</a:t>
            </a:r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044E0460-1F84-797E-9492-607431C8CBFF}"/>
              </a:ext>
            </a:extLst>
          </p:cNvPr>
          <p:cNvSpPr txBox="1">
            <a:spLocks/>
          </p:cNvSpPr>
          <p:nvPr/>
        </p:nvSpPr>
        <p:spPr>
          <a:xfrm>
            <a:off x="7296303" y="5304755"/>
            <a:ext cx="1044000" cy="788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1 PC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Einzellizenz</a:t>
            </a:r>
            <a:br>
              <a:rPr lang="de-DE" sz="1400" b="1" dirty="0">
                <a:latin typeface="EnBW Sans Text" pitchFamily="50" charset="0"/>
                <a:ea typeface="EnBW Sans Text" pitchFamily="50" charset="0"/>
              </a:rPr>
            </a:b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2,90 €</a:t>
            </a:r>
            <a:br>
              <a:rPr lang="de-DE" sz="1800" b="1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monatlich</a:t>
            </a:r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1C59A63F-12E4-BA61-330F-25C40AF0B342}"/>
              </a:ext>
            </a:extLst>
          </p:cNvPr>
          <p:cNvSpPr txBox="1">
            <a:spLocks/>
          </p:cNvSpPr>
          <p:nvPr/>
        </p:nvSpPr>
        <p:spPr>
          <a:xfrm>
            <a:off x="9011076" y="5304755"/>
            <a:ext cx="1044000" cy="788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3 PC</a:t>
            </a:r>
            <a:br>
              <a:rPr lang="de-DE" sz="1400" b="1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Dreierlizenz</a:t>
            </a:r>
          </a:p>
          <a:p>
            <a:pPr lvl="1">
              <a:spcAft>
                <a:spcPts val="0"/>
              </a:spcAft>
            </a:pP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3,90 €</a:t>
            </a:r>
            <a:br>
              <a:rPr lang="de-DE" sz="1400" b="1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monatlich</a:t>
            </a:r>
          </a:p>
        </p:txBody>
      </p:sp>
      <p:pic>
        <p:nvPicPr>
          <p:cNvPr id="92" name="Grafik 91">
            <a:extLst>
              <a:ext uri="{FF2B5EF4-FFF2-40B4-BE49-F238E27FC236}">
                <a16:creationId xmlns:a16="http://schemas.microsoft.com/office/drawing/2014/main" id="{8867C1C2-BE23-FA82-C8AB-56889D75A59D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gray">
          <a:xfrm>
            <a:off x="1244301" y="5262185"/>
            <a:ext cx="375830" cy="37583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0E6224A0-401A-98D2-5D11-E66731CA879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gray">
          <a:xfrm>
            <a:off x="3568401" y="5262185"/>
            <a:ext cx="375830" cy="375830"/>
          </a:xfrm>
          <a:prstGeom prst="rect">
            <a:avLst/>
          </a:prstGeom>
        </p:spPr>
      </p:pic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321607B4-E87F-1E4F-2F63-BB7A69071DBD}"/>
              </a:ext>
            </a:extLst>
          </p:cNvPr>
          <p:cNvSpPr txBox="1">
            <a:spLocks/>
          </p:cNvSpPr>
          <p:nvPr/>
        </p:nvSpPr>
        <p:spPr>
          <a:xfrm>
            <a:off x="10725850" y="5304755"/>
            <a:ext cx="1044000" cy="788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5 PC</a:t>
            </a:r>
            <a:br>
              <a:rPr lang="de-DE" sz="1400" b="1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Fünferlizenz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800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  <a:t>4,90 € </a:t>
            </a:r>
            <a:br>
              <a:rPr lang="de-DE" sz="1400" b="1" dirty="0">
                <a:solidFill>
                  <a:schemeClr val="tx2"/>
                </a:solidFill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monatlich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9475B0A-1368-4132-6A6F-35C87E1DA5F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7988" y="1844675"/>
            <a:ext cx="735012" cy="735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47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nbieterwechselauftra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B06662B-2205-4061-8A98-304DD4628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pPr/>
              <a:t>11</a:t>
            </a:fld>
            <a:endParaRPr lang="de-DE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6167410-565F-2066-57AB-9676390CF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9461" y="1561180"/>
            <a:ext cx="6860534" cy="447381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6472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133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Ihr regionaler Ansprechpartn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Bereit fürs Glasfaserland? | März 2024</a:t>
            </a:r>
          </a:p>
        </p:txBody>
      </p:sp>
      <p:sp>
        <p:nvSpPr>
          <p:cNvPr id="44" name="Freeform 90">
            <a:extLst>
              <a:ext uri="{FF2B5EF4-FFF2-40B4-BE49-F238E27FC236}">
                <a16:creationId xmlns:a16="http://schemas.microsoft.com/office/drawing/2014/main" id="{AD522C66-671A-4109-B655-9367D6688792}"/>
              </a:ext>
            </a:extLst>
          </p:cNvPr>
          <p:cNvSpPr>
            <a:spLocks/>
          </p:cNvSpPr>
          <p:nvPr/>
        </p:nvSpPr>
        <p:spPr bwMode="gray">
          <a:xfrm>
            <a:off x="6835739" y="1144407"/>
            <a:ext cx="3774698" cy="4382871"/>
          </a:xfrm>
          <a:custGeom>
            <a:avLst/>
            <a:gdLst>
              <a:gd name="T0" fmla="*/ 476 w 726"/>
              <a:gd name="T1" fmla="*/ 756 h 788"/>
              <a:gd name="T2" fmla="*/ 440 w 726"/>
              <a:gd name="T3" fmla="*/ 748 h 788"/>
              <a:gd name="T4" fmla="*/ 420 w 726"/>
              <a:gd name="T5" fmla="*/ 730 h 788"/>
              <a:gd name="T6" fmla="*/ 402 w 726"/>
              <a:gd name="T7" fmla="*/ 712 h 788"/>
              <a:gd name="T8" fmla="*/ 372 w 726"/>
              <a:gd name="T9" fmla="*/ 696 h 788"/>
              <a:gd name="T10" fmla="*/ 368 w 726"/>
              <a:gd name="T11" fmla="*/ 704 h 788"/>
              <a:gd name="T12" fmla="*/ 402 w 726"/>
              <a:gd name="T13" fmla="*/ 736 h 788"/>
              <a:gd name="T14" fmla="*/ 394 w 726"/>
              <a:gd name="T15" fmla="*/ 744 h 788"/>
              <a:gd name="T16" fmla="*/ 346 w 726"/>
              <a:gd name="T17" fmla="*/ 720 h 788"/>
              <a:gd name="T18" fmla="*/ 346 w 726"/>
              <a:gd name="T19" fmla="*/ 728 h 788"/>
              <a:gd name="T20" fmla="*/ 346 w 726"/>
              <a:gd name="T21" fmla="*/ 740 h 788"/>
              <a:gd name="T22" fmla="*/ 302 w 726"/>
              <a:gd name="T23" fmla="*/ 740 h 788"/>
              <a:gd name="T24" fmla="*/ 218 w 726"/>
              <a:gd name="T25" fmla="*/ 722 h 788"/>
              <a:gd name="T26" fmla="*/ 238 w 726"/>
              <a:gd name="T27" fmla="*/ 774 h 788"/>
              <a:gd name="T28" fmla="*/ 204 w 726"/>
              <a:gd name="T29" fmla="*/ 778 h 788"/>
              <a:gd name="T30" fmla="*/ 156 w 726"/>
              <a:gd name="T31" fmla="*/ 762 h 788"/>
              <a:gd name="T32" fmla="*/ 110 w 726"/>
              <a:gd name="T33" fmla="*/ 780 h 788"/>
              <a:gd name="T34" fmla="*/ 76 w 726"/>
              <a:gd name="T35" fmla="*/ 774 h 788"/>
              <a:gd name="T36" fmla="*/ 40 w 726"/>
              <a:gd name="T37" fmla="*/ 782 h 788"/>
              <a:gd name="T38" fmla="*/ 8 w 726"/>
              <a:gd name="T39" fmla="*/ 748 h 788"/>
              <a:gd name="T40" fmla="*/ 4 w 726"/>
              <a:gd name="T41" fmla="*/ 708 h 788"/>
              <a:gd name="T42" fmla="*/ 6 w 726"/>
              <a:gd name="T43" fmla="*/ 670 h 788"/>
              <a:gd name="T44" fmla="*/ 22 w 726"/>
              <a:gd name="T45" fmla="*/ 618 h 788"/>
              <a:gd name="T46" fmla="*/ 22 w 726"/>
              <a:gd name="T47" fmla="*/ 584 h 788"/>
              <a:gd name="T48" fmla="*/ 56 w 726"/>
              <a:gd name="T49" fmla="*/ 512 h 788"/>
              <a:gd name="T50" fmla="*/ 60 w 726"/>
              <a:gd name="T51" fmla="*/ 482 h 788"/>
              <a:gd name="T52" fmla="*/ 80 w 726"/>
              <a:gd name="T53" fmla="*/ 426 h 788"/>
              <a:gd name="T54" fmla="*/ 96 w 726"/>
              <a:gd name="T55" fmla="*/ 400 h 788"/>
              <a:gd name="T56" fmla="*/ 116 w 726"/>
              <a:gd name="T57" fmla="*/ 370 h 788"/>
              <a:gd name="T58" fmla="*/ 144 w 726"/>
              <a:gd name="T59" fmla="*/ 346 h 788"/>
              <a:gd name="T60" fmla="*/ 156 w 726"/>
              <a:gd name="T61" fmla="*/ 318 h 788"/>
              <a:gd name="T62" fmla="*/ 208 w 726"/>
              <a:gd name="T63" fmla="*/ 250 h 788"/>
              <a:gd name="T64" fmla="*/ 220 w 726"/>
              <a:gd name="T65" fmla="*/ 218 h 788"/>
              <a:gd name="T66" fmla="*/ 242 w 726"/>
              <a:gd name="T67" fmla="*/ 180 h 788"/>
              <a:gd name="T68" fmla="*/ 246 w 726"/>
              <a:gd name="T69" fmla="*/ 144 h 788"/>
              <a:gd name="T70" fmla="*/ 234 w 726"/>
              <a:gd name="T71" fmla="*/ 118 h 788"/>
              <a:gd name="T72" fmla="*/ 270 w 726"/>
              <a:gd name="T73" fmla="*/ 82 h 788"/>
              <a:gd name="T74" fmla="*/ 302 w 726"/>
              <a:gd name="T75" fmla="*/ 68 h 788"/>
              <a:gd name="T76" fmla="*/ 320 w 726"/>
              <a:gd name="T77" fmla="*/ 130 h 788"/>
              <a:gd name="T78" fmla="*/ 358 w 726"/>
              <a:gd name="T79" fmla="*/ 80 h 788"/>
              <a:gd name="T80" fmla="*/ 420 w 726"/>
              <a:gd name="T81" fmla="*/ 68 h 788"/>
              <a:gd name="T82" fmla="*/ 444 w 726"/>
              <a:gd name="T83" fmla="*/ 6 h 788"/>
              <a:gd name="T84" fmla="*/ 506 w 726"/>
              <a:gd name="T85" fmla="*/ 0 h 788"/>
              <a:gd name="T86" fmla="*/ 536 w 726"/>
              <a:gd name="T87" fmla="*/ 32 h 788"/>
              <a:gd name="T88" fmla="*/ 558 w 726"/>
              <a:gd name="T89" fmla="*/ 68 h 788"/>
              <a:gd name="T90" fmla="*/ 592 w 726"/>
              <a:gd name="T91" fmla="*/ 94 h 788"/>
              <a:gd name="T92" fmla="*/ 634 w 726"/>
              <a:gd name="T93" fmla="*/ 108 h 788"/>
              <a:gd name="T94" fmla="*/ 640 w 726"/>
              <a:gd name="T95" fmla="*/ 200 h 788"/>
              <a:gd name="T96" fmla="*/ 710 w 726"/>
              <a:gd name="T97" fmla="*/ 326 h 788"/>
              <a:gd name="T98" fmla="*/ 706 w 726"/>
              <a:gd name="T99" fmla="*/ 378 h 788"/>
              <a:gd name="T100" fmla="*/ 664 w 726"/>
              <a:gd name="T101" fmla="*/ 376 h 788"/>
              <a:gd name="T102" fmla="*/ 640 w 726"/>
              <a:gd name="T103" fmla="*/ 452 h 788"/>
              <a:gd name="T104" fmla="*/ 596 w 726"/>
              <a:gd name="T105" fmla="*/ 510 h 788"/>
              <a:gd name="T106" fmla="*/ 636 w 726"/>
              <a:gd name="T107" fmla="*/ 632 h 788"/>
              <a:gd name="T108" fmla="*/ 624 w 726"/>
              <a:gd name="T109" fmla="*/ 694 h 788"/>
              <a:gd name="T110" fmla="*/ 610 w 726"/>
              <a:gd name="T111" fmla="*/ 730 h 788"/>
              <a:gd name="T112" fmla="*/ 530 w 726"/>
              <a:gd name="T113" fmla="*/ 75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26" h="788">
                <a:moveTo>
                  <a:pt x="498" y="774"/>
                </a:moveTo>
                <a:lnTo>
                  <a:pt x="498" y="774"/>
                </a:lnTo>
                <a:lnTo>
                  <a:pt x="486" y="762"/>
                </a:lnTo>
                <a:lnTo>
                  <a:pt x="486" y="762"/>
                </a:lnTo>
                <a:lnTo>
                  <a:pt x="476" y="756"/>
                </a:lnTo>
                <a:lnTo>
                  <a:pt x="464" y="752"/>
                </a:lnTo>
                <a:lnTo>
                  <a:pt x="454" y="750"/>
                </a:lnTo>
                <a:lnTo>
                  <a:pt x="444" y="750"/>
                </a:lnTo>
                <a:lnTo>
                  <a:pt x="444" y="750"/>
                </a:lnTo>
                <a:lnTo>
                  <a:pt x="440" y="748"/>
                </a:lnTo>
                <a:lnTo>
                  <a:pt x="436" y="748"/>
                </a:lnTo>
                <a:lnTo>
                  <a:pt x="430" y="742"/>
                </a:lnTo>
                <a:lnTo>
                  <a:pt x="424" y="736"/>
                </a:lnTo>
                <a:lnTo>
                  <a:pt x="420" y="730"/>
                </a:lnTo>
                <a:lnTo>
                  <a:pt x="420" y="730"/>
                </a:lnTo>
                <a:lnTo>
                  <a:pt x="414" y="724"/>
                </a:lnTo>
                <a:lnTo>
                  <a:pt x="410" y="718"/>
                </a:lnTo>
                <a:lnTo>
                  <a:pt x="406" y="714"/>
                </a:lnTo>
                <a:lnTo>
                  <a:pt x="402" y="712"/>
                </a:lnTo>
                <a:lnTo>
                  <a:pt x="402" y="712"/>
                </a:lnTo>
                <a:lnTo>
                  <a:pt x="396" y="710"/>
                </a:lnTo>
                <a:lnTo>
                  <a:pt x="390" y="708"/>
                </a:lnTo>
                <a:lnTo>
                  <a:pt x="382" y="702"/>
                </a:lnTo>
                <a:lnTo>
                  <a:pt x="382" y="702"/>
                </a:lnTo>
                <a:lnTo>
                  <a:pt x="372" y="696"/>
                </a:lnTo>
                <a:lnTo>
                  <a:pt x="368" y="696"/>
                </a:lnTo>
                <a:lnTo>
                  <a:pt x="366" y="698"/>
                </a:lnTo>
                <a:lnTo>
                  <a:pt x="366" y="698"/>
                </a:lnTo>
                <a:lnTo>
                  <a:pt x="366" y="702"/>
                </a:lnTo>
                <a:lnTo>
                  <a:pt x="368" y="704"/>
                </a:lnTo>
                <a:lnTo>
                  <a:pt x="376" y="712"/>
                </a:lnTo>
                <a:lnTo>
                  <a:pt x="396" y="724"/>
                </a:lnTo>
                <a:lnTo>
                  <a:pt x="396" y="724"/>
                </a:lnTo>
                <a:lnTo>
                  <a:pt x="400" y="730"/>
                </a:lnTo>
                <a:lnTo>
                  <a:pt x="402" y="736"/>
                </a:lnTo>
                <a:lnTo>
                  <a:pt x="402" y="740"/>
                </a:lnTo>
                <a:lnTo>
                  <a:pt x="400" y="744"/>
                </a:lnTo>
                <a:lnTo>
                  <a:pt x="400" y="744"/>
                </a:lnTo>
                <a:lnTo>
                  <a:pt x="398" y="744"/>
                </a:lnTo>
                <a:lnTo>
                  <a:pt x="394" y="744"/>
                </a:lnTo>
                <a:lnTo>
                  <a:pt x="386" y="740"/>
                </a:lnTo>
                <a:lnTo>
                  <a:pt x="368" y="728"/>
                </a:lnTo>
                <a:lnTo>
                  <a:pt x="368" y="728"/>
                </a:lnTo>
                <a:lnTo>
                  <a:pt x="352" y="720"/>
                </a:lnTo>
                <a:lnTo>
                  <a:pt x="346" y="720"/>
                </a:lnTo>
                <a:lnTo>
                  <a:pt x="344" y="720"/>
                </a:lnTo>
                <a:lnTo>
                  <a:pt x="344" y="722"/>
                </a:lnTo>
                <a:lnTo>
                  <a:pt x="344" y="722"/>
                </a:lnTo>
                <a:lnTo>
                  <a:pt x="344" y="726"/>
                </a:lnTo>
                <a:lnTo>
                  <a:pt x="346" y="728"/>
                </a:lnTo>
                <a:lnTo>
                  <a:pt x="348" y="732"/>
                </a:lnTo>
                <a:lnTo>
                  <a:pt x="350" y="736"/>
                </a:lnTo>
                <a:lnTo>
                  <a:pt x="350" y="736"/>
                </a:lnTo>
                <a:lnTo>
                  <a:pt x="348" y="740"/>
                </a:lnTo>
                <a:lnTo>
                  <a:pt x="346" y="740"/>
                </a:lnTo>
                <a:lnTo>
                  <a:pt x="336" y="742"/>
                </a:lnTo>
                <a:lnTo>
                  <a:pt x="328" y="726"/>
                </a:lnTo>
                <a:lnTo>
                  <a:pt x="318" y="726"/>
                </a:lnTo>
                <a:lnTo>
                  <a:pt x="314" y="740"/>
                </a:lnTo>
                <a:lnTo>
                  <a:pt x="302" y="740"/>
                </a:lnTo>
                <a:lnTo>
                  <a:pt x="292" y="722"/>
                </a:lnTo>
                <a:lnTo>
                  <a:pt x="290" y="700"/>
                </a:lnTo>
                <a:lnTo>
                  <a:pt x="252" y="702"/>
                </a:lnTo>
                <a:lnTo>
                  <a:pt x="246" y="716"/>
                </a:lnTo>
                <a:lnTo>
                  <a:pt x="218" y="722"/>
                </a:lnTo>
                <a:lnTo>
                  <a:pt x="230" y="746"/>
                </a:lnTo>
                <a:lnTo>
                  <a:pt x="250" y="744"/>
                </a:lnTo>
                <a:lnTo>
                  <a:pt x="252" y="754"/>
                </a:lnTo>
                <a:lnTo>
                  <a:pt x="232" y="764"/>
                </a:lnTo>
                <a:lnTo>
                  <a:pt x="238" y="774"/>
                </a:lnTo>
                <a:lnTo>
                  <a:pt x="226" y="782"/>
                </a:lnTo>
                <a:lnTo>
                  <a:pt x="226" y="782"/>
                </a:lnTo>
                <a:lnTo>
                  <a:pt x="220" y="780"/>
                </a:lnTo>
                <a:lnTo>
                  <a:pt x="204" y="778"/>
                </a:lnTo>
                <a:lnTo>
                  <a:pt x="204" y="778"/>
                </a:lnTo>
                <a:lnTo>
                  <a:pt x="194" y="778"/>
                </a:lnTo>
                <a:lnTo>
                  <a:pt x="184" y="774"/>
                </a:lnTo>
                <a:lnTo>
                  <a:pt x="162" y="764"/>
                </a:lnTo>
                <a:lnTo>
                  <a:pt x="162" y="764"/>
                </a:lnTo>
                <a:lnTo>
                  <a:pt x="156" y="762"/>
                </a:lnTo>
                <a:lnTo>
                  <a:pt x="148" y="764"/>
                </a:lnTo>
                <a:lnTo>
                  <a:pt x="136" y="768"/>
                </a:lnTo>
                <a:lnTo>
                  <a:pt x="122" y="776"/>
                </a:lnTo>
                <a:lnTo>
                  <a:pt x="110" y="780"/>
                </a:lnTo>
                <a:lnTo>
                  <a:pt x="110" y="780"/>
                </a:lnTo>
                <a:lnTo>
                  <a:pt x="98" y="782"/>
                </a:lnTo>
                <a:lnTo>
                  <a:pt x="90" y="782"/>
                </a:lnTo>
                <a:lnTo>
                  <a:pt x="82" y="778"/>
                </a:lnTo>
                <a:lnTo>
                  <a:pt x="76" y="774"/>
                </a:lnTo>
                <a:lnTo>
                  <a:pt x="76" y="774"/>
                </a:lnTo>
                <a:lnTo>
                  <a:pt x="72" y="774"/>
                </a:lnTo>
                <a:lnTo>
                  <a:pt x="68" y="774"/>
                </a:lnTo>
                <a:lnTo>
                  <a:pt x="58" y="778"/>
                </a:lnTo>
                <a:lnTo>
                  <a:pt x="48" y="788"/>
                </a:lnTo>
                <a:lnTo>
                  <a:pt x="40" y="782"/>
                </a:lnTo>
                <a:lnTo>
                  <a:pt x="60" y="754"/>
                </a:lnTo>
                <a:lnTo>
                  <a:pt x="44" y="744"/>
                </a:lnTo>
                <a:lnTo>
                  <a:pt x="18" y="766"/>
                </a:lnTo>
                <a:lnTo>
                  <a:pt x="18" y="766"/>
                </a:lnTo>
                <a:lnTo>
                  <a:pt x="8" y="748"/>
                </a:lnTo>
                <a:lnTo>
                  <a:pt x="4" y="736"/>
                </a:lnTo>
                <a:lnTo>
                  <a:pt x="4" y="730"/>
                </a:lnTo>
                <a:lnTo>
                  <a:pt x="4" y="722"/>
                </a:lnTo>
                <a:lnTo>
                  <a:pt x="4" y="722"/>
                </a:lnTo>
                <a:lnTo>
                  <a:pt x="4" y="708"/>
                </a:lnTo>
                <a:lnTo>
                  <a:pt x="0" y="692"/>
                </a:lnTo>
                <a:lnTo>
                  <a:pt x="0" y="692"/>
                </a:lnTo>
                <a:lnTo>
                  <a:pt x="0" y="686"/>
                </a:lnTo>
                <a:lnTo>
                  <a:pt x="2" y="682"/>
                </a:lnTo>
                <a:lnTo>
                  <a:pt x="6" y="670"/>
                </a:lnTo>
                <a:lnTo>
                  <a:pt x="18" y="644"/>
                </a:lnTo>
                <a:lnTo>
                  <a:pt x="18" y="644"/>
                </a:lnTo>
                <a:lnTo>
                  <a:pt x="22" y="634"/>
                </a:lnTo>
                <a:lnTo>
                  <a:pt x="22" y="626"/>
                </a:lnTo>
                <a:lnTo>
                  <a:pt x="22" y="618"/>
                </a:lnTo>
                <a:lnTo>
                  <a:pt x="18" y="610"/>
                </a:lnTo>
                <a:lnTo>
                  <a:pt x="18" y="610"/>
                </a:lnTo>
                <a:lnTo>
                  <a:pt x="16" y="602"/>
                </a:lnTo>
                <a:lnTo>
                  <a:pt x="18" y="594"/>
                </a:lnTo>
                <a:lnTo>
                  <a:pt x="22" y="584"/>
                </a:lnTo>
                <a:lnTo>
                  <a:pt x="22" y="584"/>
                </a:lnTo>
                <a:lnTo>
                  <a:pt x="52" y="528"/>
                </a:lnTo>
                <a:lnTo>
                  <a:pt x="52" y="528"/>
                </a:lnTo>
                <a:lnTo>
                  <a:pt x="56" y="518"/>
                </a:lnTo>
                <a:lnTo>
                  <a:pt x="56" y="512"/>
                </a:lnTo>
                <a:lnTo>
                  <a:pt x="56" y="508"/>
                </a:lnTo>
                <a:lnTo>
                  <a:pt x="56" y="508"/>
                </a:lnTo>
                <a:lnTo>
                  <a:pt x="56" y="502"/>
                </a:lnTo>
                <a:lnTo>
                  <a:pt x="56" y="496"/>
                </a:lnTo>
                <a:lnTo>
                  <a:pt x="60" y="482"/>
                </a:lnTo>
                <a:lnTo>
                  <a:pt x="68" y="460"/>
                </a:lnTo>
                <a:lnTo>
                  <a:pt x="68" y="460"/>
                </a:lnTo>
                <a:lnTo>
                  <a:pt x="76" y="448"/>
                </a:lnTo>
                <a:lnTo>
                  <a:pt x="80" y="438"/>
                </a:lnTo>
                <a:lnTo>
                  <a:pt x="80" y="426"/>
                </a:lnTo>
                <a:lnTo>
                  <a:pt x="80" y="426"/>
                </a:lnTo>
                <a:lnTo>
                  <a:pt x="82" y="416"/>
                </a:lnTo>
                <a:lnTo>
                  <a:pt x="86" y="410"/>
                </a:lnTo>
                <a:lnTo>
                  <a:pt x="96" y="400"/>
                </a:lnTo>
                <a:lnTo>
                  <a:pt x="96" y="400"/>
                </a:lnTo>
                <a:lnTo>
                  <a:pt x="102" y="390"/>
                </a:lnTo>
                <a:lnTo>
                  <a:pt x="106" y="380"/>
                </a:lnTo>
                <a:lnTo>
                  <a:pt x="106" y="380"/>
                </a:lnTo>
                <a:lnTo>
                  <a:pt x="110" y="374"/>
                </a:lnTo>
                <a:lnTo>
                  <a:pt x="116" y="370"/>
                </a:lnTo>
                <a:lnTo>
                  <a:pt x="130" y="362"/>
                </a:lnTo>
                <a:lnTo>
                  <a:pt x="130" y="362"/>
                </a:lnTo>
                <a:lnTo>
                  <a:pt x="136" y="358"/>
                </a:lnTo>
                <a:lnTo>
                  <a:pt x="140" y="352"/>
                </a:lnTo>
                <a:lnTo>
                  <a:pt x="144" y="346"/>
                </a:lnTo>
                <a:lnTo>
                  <a:pt x="144" y="342"/>
                </a:lnTo>
                <a:lnTo>
                  <a:pt x="144" y="342"/>
                </a:lnTo>
                <a:lnTo>
                  <a:pt x="146" y="336"/>
                </a:lnTo>
                <a:lnTo>
                  <a:pt x="150" y="330"/>
                </a:lnTo>
                <a:lnTo>
                  <a:pt x="156" y="318"/>
                </a:lnTo>
                <a:lnTo>
                  <a:pt x="156" y="318"/>
                </a:lnTo>
                <a:lnTo>
                  <a:pt x="176" y="298"/>
                </a:lnTo>
                <a:lnTo>
                  <a:pt x="176" y="298"/>
                </a:lnTo>
                <a:lnTo>
                  <a:pt x="192" y="274"/>
                </a:lnTo>
                <a:lnTo>
                  <a:pt x="208" y="250"/>
                </a:lnTo>
                <a:lnTo>
                  <a:pt x="208" y="250"/>
                </a:lnTo>
                <a:lnTo>
                  <a:pt x="216" y="238"/>
                </a:lnTo>
                <a:lnTo>
                  <a:pt x="218" y="226"/>
                </a:lnTo>
                <a:lnTo>
                  <a:pt x="218" y="226"/>
                </a:lnTo>
                <a:lnTo>
                  <a:pt x="220" y="218"/>
                </a:lnTo>
                <a:lnTo>
                  <a:pt x="222" y="210"/>
                </a:lnTo>
                <a:lnTo>
                  <a:pt x="234" y="194"/>
                </a:lnTo>
                <a:lnTo>
                  <a:pt x="234" y="194"/>
                </a:lnTo>
                <a:lnTo>
                  <a:pt x="240" y="186"/>
                </a:lnTo>
                <a:lnTo>
                  <a:pt x="242" y="180"/>
                </a:lnTo>
                <a:lnTo>
                  <a:pt x="242" y="170"/>
                </a:lnTo>
                <a:lnTo>
                  <a:pt x="242" y="170"/>
                </a:lnTo>
                <a:lnTo>
                  <a:pt x="242" y="158"/>
                </a:lnTo>
                <a:lnTo>
                  <a:pt x="246" y="144"/>
                </a:lnTo>
                <a:lnTo>
                  <a:pt x="246" y="144"/>
                </a:lnTo>
                <a:lnTo>
                  <a:pt x="246" y="138"/>
                </a:lnTo>
                <a:lnTo>
                  <a:pt x="244" y="134"/>
                </a:lnTo>
                <a:lnTo>
                  <a:pt x="238" y="126"/>
                </a:lnTo>
                <a:lnTo>
                  <a:pt x="238" y="126"/>
                </a:lnTo>
                <a:lnTo>
                  <a:pt x="234" y="118"/>
                </a:lnTo>
                <a:lnTo>
                  <a:pt x="232" y="108"/>
                </a:lnTo>
                <a:lnTo>
                  <a:pt x="232" y="108"/>
                </a:lnTo>
                <a:lnTo>
                  <a:pt x="228" y="54"/>
                </a:lnTo>
                <a:lnTo>
                  <a:pt x="262" y="64"/>
                </a:lnTo>
                <a:lnTo>
                  <a:pt x="270" y="82"/>
                </a:lnTo>
                <a:lnTo>
                  <a:pt x="284" y="80"/>
                </a:lnTo>
                <a:lnTo>
                  <a:pt x="284" y="68"/>
                </a:lnTo>
                <a:lnTo>
                  <a:pt x="278" y="50"/>
                </a:lnTo>
                <a:lnTo>
                  <a:pt x="292" y="44"/>
                </a:lnTo>
                <a:lnTo>
                  <a:pt x="302" y="68"/>
                </a:lnTo>
                <a:lnTo>
                  <a:pt x="332" y="78"/>
                </a:lnTo>
                <a:lnTo>
                  <a:pt x="330" y="94"/>
                </a:lnTo>
                <a:lnTo>
                  <a:pt x="320" y="94"/>
                </a:lnTo>
                <a:lnTo>
                  <a:pt x="310" y="122"/>
                </a:lnTo>
                <a:lnTo>
                  <a:pt x="320" y="130"/>
                </a:lnTo>
                <a:lnTo>
                  <a:pt x="330" y="114"/>
                </a:lnTo>
                <a:lnTo>
                  <a:pt x="342" y="114"/>
                </a:lnTo>
                <a:lnTo>
                  <a:pt x="348" y="98"/>
                </a:lnTo>
                <a:lnTo>
                  <a:pt x="346" y="82"/>
                </a:lnTo>
                <a:lnTo>
                  <a:pt x="358" y="80"/>
                </a:lnTo>
                <a:lnTo>
                  <a:pt x="364" y="92"/>
                </a:lnTo>
                <a:lnTo>
                  <a:pt x="378" y="88"/>
                </a:lnTo>
                <a:lnTo>
                  <a:pt x="378" y="66"/>
                </a:lnTo>
                <a:lnTo>
                  <a:pt x="396" y="74"/>
                </a:lnTo>
                <a:lnTo>
                  <a:pt x="420" y="68"/>
                </a:lnTo>
                <a:lnTo>
                  <a:pt x="430" y="48"/>
                </a:lnTo>
                <a:lnTo>
                  <a:pt x="450" y="46"/>
                </a:lnTo>
                <a:lnTo>
                  <a:pt x="448" y="20"/>
                </a:lnTo>
                <a:lnTo>
                  <a:pt x="440" y="18"/>
                </a:lnTo>
                <a:lnTo>
                  <a:pt x="444" y="6"/>
                </a:lnTo>
                <a:lnTo>
                  <a:pt x="470" y="8"/>
                </a:lnTo>
                <a:lnTo>
                  <a:pt x="478" y="18"/>
                </a:lnTo>
                <a:lnTo>
                  <a:pt x="490" y="16"/>
                </a:lnTo>
                <a:lnTo>
                  <a:pt x="498" y="0"/>
                </a:lnTo>
                <a:lnTo>
                  <a:pt x="506" y="0"/>
                </a:lnTo>
                <a:lnTo>
                  <a:pt x="506" y="32"/>
                </a:lnTo>
                <a:lnTo>
                  <a:pt x="516" y="32"/>
                </a:lnTo>
                <a:lnTo>
                  <a:pt x="516" y="24"/>
                </a:lnTo>
                <a:lnTo>
                  <a:pt x="532" y="22"/>
                </a:lnTo>
                <a:lnTo>
                  <a:pt x="536" y="32"/>
                </a:lnTo>
                <a:lnTo>
                  <a:pt x="546" y="32"/>
                </a:lnTo>
                <a:lnTo>
                  <a:pt x="548" y="20"/>
                </a:lnTo>
                <a:lnTo>
                  <a:pt x="562" y="20"/>
                </a:lnTo>
                <a:lnTo>
                  <a:pt x="566" y="46"/>
                </a:lnTo>
                <a:lnTo>
                  <a:pt x="558" y="68"/>
                </a:lnTo>
                <a:lnTo>
                  <a:pt x="564" y="72"/>
                </a:lnTo>
                <a:lnTo>
                  <a:pt x="576" y="64"/>
                </a:lnTo>
                <a:lnTo>
                  <a:pt x="582" y="68"/>
                </a:lnTo>
                <a:lnTo>
                  <a:pt x="582" y="88"/>
                </a:lnTo>
                <a:lnTo>
                  <a:pt x="592" y="94"/>
                </a:lnTo>
                <a:lnTo>
                  <a:pt x="606" y="88"/>
                </a:lnTo>
                <a:lnTo>
                  <a:pt x="606" y="78"/>
                </a:lnTo>
                <a:lnTo>
                  <a:pt x="622" y="68"/>
                </a:lnTo>
                <a:lnTo>
                  <a:pt x="634" y="78"/>
                </a:lnTo>
                <a:lnTo>
                  <a:pt x="634" y="108"/>
                </a:lnTo>
                <a:lnTo>
                  <a:pt x="642" y="130"/>
                </a:lnTo>
                <a:lnTo>
                  <a:pt x="632" y="140"/>
                </a:lnTo>
                <a:lnTo>
                  <a:pt x="642" y="160"/>
                </a:lnTo>
                <a:lnTo>
                  <a:pt x="636" y="174"/>
                </a:lnTo>
                <a:lnTo>
                  <a:pt x="640" y="200"/>
                </a:lnTo>
                <a:lnTo>
                  <a:pt x="664" y="220"/>
                </a:lnTo>
                <a:lnTo>
                  <a:pt x="662" y="232"/>
                </a:lnTo>
                <a:lnTo>
                  <a:pt x="674" y="266"/>
                </a:lnTo>
                <a:lnTo>
                  <a:pt x="708" y="286"/>
                </a:lnTo>
                <a:lnTo>
                  <a:pt x="710" y="326"/>
                </a:lnTo>
                <a:lnTo>
                  <a:pt x="708" y="348"/>
                </a:lnTo>
                <a:lnTo>
                  <a:pt x="724" y="360"/>
                </a:lnTo>
                <a:lnTo>
                  <a:pt x="726" y="380"/>
                </a:lnTo>
                <a:lnTo>
                  <a:pt x="712" y="390"/>
                </a:lnTo>
                <a:lnTo>
                  <a:pt x="706" y="378"/>
                </a:lnTo>
                <a:lnTo>
                  <a:pt x="696" y="380"/>
                </a:lnTo>
                <a:lnTo>
                  <a:pt x="694" y="390"/>
                </a:lnTo>
                <a:lnTo>
                  <a:pt x="684" y="388"/>
                </a:lnTo>
                <a:lnTo>
                  <a:pt x="682" y="380"/>
                </a:lnTo>
                <a:lnTo>
                  <a:pt x="664" y="376"/>
                </a:lnTo>
                <a:lnTo>
                  <a:pt x="656" y="386"/>
                </a:lnTo>
                <a:lnTo>
                  <a:pt x="672" y="428"/>
                </a:lnTo>
                <a:lnTo>
                  <a:pt x="662" y="430"/>
                </a:lnTo>
                <a:lnTo>
                  <a:pt x="666" y="440"/>
                </a:lnTo>
                <a:lnTo>
                  <a:pt x="640" y="452"/>
                </a:lnTo>
                <a:lnTo>
                  <a:pt x="634" y="446"/>
                </a:lnTo>
                <a:lnTo>
                  <a:pt x="616" y="458"/>
                </a:lnTo>
                <a:lnTo>
                  <a:pt x="614" y="472"/>
                </a:lnTo>
                <a:lnTo>
                  <a:pt x="586" y="488"/>
                </a:lnTo>
                <a:lnTo>
                  <a:pt x="596" y="510"/>
                </a:lnTo>
                <a:lnTo>
                  <a:pt x="604" y="510"/>
                </a:lnTo>
                <a:lnTo>
                  <a:pt x="618" y="538"/>
                </a:lnTo>
                <a:lnTo>
                  <a:pt x="616" y="576"/>
                </a:lnTo>
                <a:lnTo>
                  <a:pt x="628" y="586"/>
                </a:lnTo>
                <a:lnTo>
                  <a:pt x="636" y="632"/>
                </a:lnTo>
                <a:lnTo>
                  <a:pt x="626" y="650"/>
                </a:lnTo>
                <a:lnTo>
                  <a:pt x="626" y="668"/>
                </a:lnTo>
                <a:lnTo>
                  <a:pt x="636" y="674"/>
                </a:lnTo>
                <a:lnTo>
                  <a:pt x="636" y="684"/>
                </a:lnTo>
                <a:lnTo>
                  <a:pt x="624" y="694"/>
                </a:lnTo>
                <a:lnTo>
                  <a:pt x="624" y="706"/>
                </a:lnTo>
                <a:lnTo>
                  <a:pt x="634" y="710"/>
                </a:lnTo>
                <a:lnTo>
                  <a:pt x="638" y="724"/>
                </a:lnTo>
                <a:lnTo>
                  <a:pt x="620" y="748"/>
                </a:lnTo>
                <a:lnTo>
                  <a:pt x="610" y="730"/>
                </a:lnTo>
                <a:lnTo>
                  <a:pt x="594" y="730"/>
                </a:lnTo>
                <a:lnTo>
                  <a:pt x="584" y="742"/>
                </a:lnTo>
                <a:lnTo>
                  <a:pt x="562" y="734"/>
                </a:lnTo>
                <a:lnTo>
                  <a:pt x="556" y="746"/>
                </a:lnTo>
                <a:lnTo>
                  <a:pt x="530" y="758"/>
                </a:lnTo>
                <a:lnTo>
                  <a:pt x="518" y="754"/>
                </a:lnTo>
                <a:lnTo>
                  <a:pt x="500" y="774"/>
                </a:lnTo>
                <a:lnTo>
                  <a:pt x="498" y="774"/>
                </a:lnTo>
                <a:close/>
              </a:path>
            </a:pathLst>
          </a:custGeom>
          <a:solidFill>
            <a:srgbClr val="EDE6E1"/>
          </a:solidFill>
          <a:ln w="12700" cap="flat">
            <a:solidFill>
              <a:srgbClr val="D9CEC9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60" name="Textfeld 29">
            <a:extLst>
              <a:ext uri="{FF2B5EF4-FFF2-40B4-BE49-F238E27FC236}">
                <a16:creationId xmlns:a16="http://schemas.microsoft.com/office/drawing/2014/main" id="{B584FEC3-E22D-A13D-1FF8-1B744B2DCF31}"/>
              </a:ext>
            </a:extLst>
          </p:cNvPr>
          <p:cNvSpPr txBox="1"/>
          <p:nvPr/>
        </p:nvSpPr>
        <p:spPr bwMode="gray">
          <a:xfrm>
            <a:off x="6068255" y="3341974"/>
            <a:ext cx="4678009" cy="119719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marL="0" marR="0" lvl="0" indent="0" algn="l" defTabSz="12108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"/>
                <a:sym typeface="EnBW DIN Pro"/>
              </a:rPr>
              <a:t>Christoph Kempter</a:t>
            </a:r>
          </a:p>
          <a:p>
            <a:pPr marL="0" marR="0" lvl="0" indent="0" algn="l" defTabSz="12108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"/>
                <a:sym typeface="EnBW DIN Pro"/>
              </a:rPr>
              <a:t>Neuhausen-Schwandorf</a:t>
            </a:r>
          </a:p>
          <a:p>
            <a:pPr marL="0" marR="0" lvl="0" indent="0" algn="l" defTabSz="12108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"/>
                <a:sym typeface="EnBW DIN Pro"/>
              </a:rPr>
              <a:t>Telefon: 0175 4164330</a:t>
            </a:r>
            <a:b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"/>
                <a:sym typeface="EnBW DIN Pro"/>
              </a:rPr>
            </a:b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"/>
                <a:sym typeface="EnBW DIN Pro"/>
              </a:rPr>
              <a:t>E-Mail: christoph.kempter@netcom-mail.de</a:t>
            </a:r>
            <a:b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"/>
                <a:sym typeface="EnBW DIN Pro"/>
              </a:rPr>
            </a:b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EnBW Sans Text" pitchFamily="50" charset="0"/>
              <a:cs typeface="EnBW DIN Pro"/>
              <a:sym typeface="EnBW DIN Pro"/>
            </a:endParaRP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26890E99-DADB-00FA-5697-AF4ACFE9D343}"/>
              </a:ext>
            </a:extLst>
          </p:cNvPr>
          <p:cNvGrpSpPr/>
          <p:nvPr/>
        </p:nvGrpSpPr>
        <p:grpSpPr>
          <a:xfrm>
            <a:off x="8492184" y="4568906"/>
            <a:ext cx="356038" cy="356038"/>
            <a:chOff x="3749238" y="4847788"/>
            <a:chExt cx="356038" cy="356038"/>
          </a:xfrm>
        </p:grpSpPr>
        <p:sp>
          <p:nvSpPr>
            <p:cNvPr id="68" name="Bogen 67">
              <a:extLst>
                <a:ext uri="{FF2B5EF4-FFF2-40B4-BE49-F238E27FC236}">
                  <a16:creationId xmlns:a16="http://schemas.microsoft.com/office/drawing/2014/main" id="{73EA2475-568B-F2EA-9362-305097D61B31}"/>
                </a:ext>
              </a:extLst>
            </p:cNvPr>
            <p:cNvSpPr/>
            <p:nvPr/>
          </p:nvSpPr>
          <p:spPr bwMode="auto">
            <a:xfrm>
              <a:off x="3749238" y="4847788"/>
              <a:ext cx="356038" cy="356038"/>
            </a:xfrm>
            <a:prstGeom prst="arc">
              <a:avLst>
                <a:gd name="adj1" fmla="val 9832532"/>
                <a:gd name="adj2" fmla="val 8247993"/>
              </a:avLst>
            </a:prstGeom>
            <a:ln w="25400" cap="rnd">
              <a:solidFill>
                <a:schemeClr val="bg2"/>
              </a:solidFill>
              <a:prstDash val="solid"/>
            </a:ln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01E6E406-B33F-35A8-27B7-13EA2DBA4953}"/>
                </a:ext>
              </a:extLst>
            </p:cNvPr>
            <p:cNvSpPr/>
            <p:nvPr/>
          </p:nvSpPr>
          <p:spPr bwMode="gray">
            <a:xfrm>
              <a:off x="3855257" y="4953807"/>
              <a:ext cx="144000" cy="144000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37BE3AF6-287B-717A-326B-F9F099BE13A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 flipV="1">
            <a:off x="35715" y="2955862"/>
            <a:ext cx="6025417" cy="3815565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E473FAB-567B-3982-82D9-A6F393E7C5D3}"/>
              </a:ext>
            </a:extLst>
          </p:cNvPr>
          <p:cNvGrpSpPr/>
          <p:nvPr/>
        </p:nvGrpSpPr>
        <p:grpSpPr>
          <a:xfrm>
            <a:off x="-483633" y="2160932"/>
            <a:ext cx="4710264" cy="6688606"/>
            <a:chOff x="-167" y="548680"/>
            <a:chExt cx="5188976" cy="7604544"/>
          </a:xfrm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34718D99-E097-0C39-1DCB-CFD0220960E3}"/>
                </a:ext>
              </a:extLst>
            </p:cNvPr>
            <p:cNvSpPr/>
            <p:nvPr/>
          </p:nvSpPr>
          <p:spPr>
            <a:xfrm>
              <a:off x="1829585" y="1795400"/>
              <a:ext cx="956510" cy="2744409"/>
            </a:xfrm>
            <a:custGeom>
              <a:avLst/>
              <a:gdLst>
                <a:gd name="connsiteX0" fmla="*/ 508132 w 956510"/>
                <a:gd name="connsiteY0" fmla="*/ 2744410 h 2744409"/>
                <a:gd name="connsiteX1" fmla="*/ 918956 w 956510"/>
                <a:gd name="connsiteY1" fmla="*/ 2744410 h 2744409"/>
                <a:gd name="connsiteX2" fmla="*/ 955901 w 956510"/>
                <a:gd name="connsiteY2" fmla="*/ 2699920 h 2744409"/>
                <a:gd name="connsiteX3" fmla="*/ 500847 w 956510"/>
                <a:gd name="connsiteY3" fmla="*/ 279744 h 2744409"/>
                <a:gd name="connsiteX4" fmla="*/ 110837 w 956510"/>
                <a:gd name="connsiteY4" fmla="*/ 4996 h 2744409"/>
                <a:gd name="connsiteX5" fmla="*/ 0 w 956510"/>
                <a:gd name="connsiteY5" fmla="*/ 24249 h 2744409"/>
                <a:gd name="connsiteX6" fmla="*/ 471446 w 956510"/>
                <a:gd name="connsiteY6" fmla="*/ 2713189 h 2744409"/>
                <a:gd name="connsiteX7" fmla="*/ 508392 w 956510"/>
                <a:gd name="connsiteY7" fmla="*/ 2744150 h 27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6510" h="2744409">
                  <a:moveTo>
                    <a:pt x="508132" y="2744410"/>
                  </a:moveTo>
                  <a:lnTo>
                    <a:pt x="918956" y="2744410"/>
                  </a:lnTo>
                  <a:cubicBezTo>
                    <a:pt x="942372" y="2744410"/>
                    <a:pt x="960064" y="2723075"/>
                    <a:pt x="955901" y="2699920"/>
                  </a:cubicBezTo>
                  <a:lnTo>
                    <a:pt x="500847" y="279744"/>
                  </a:lnTo>
                  <a:cubicBezTo>
                    <a:pt x="468844" y="96058"/>
                    <a:pt x="294264" y="-26746"/>
                    <a:pt x="110837" y="4996"/>
                  </a:cubicBezTo>
                  <a:lnTo>
                    <a:pt x="0" y="24249"/>
                  </a:lnTo>
                  <a:lnTo>
                    <a:pt x="471446" y="2713189"/>
                  </a:lnTo>
                  <a:cubicBezTo>
                    <a:pt x="474568" y="2731141"/>
                    <a:pt x="490179" y="2744150"/>
                    <a:pt x="508392" y="2744150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2521B10-6D0B-B08F-F1ED-44F2A7ACF367}"/>
                </a:ext>
              </a:extLst>
            </p:cNvPr>
            <p:cNvSpPr/>
            <p:nvPr/>
          </p:nvSpPr>
          <p:spPr>
            <a:xfrm>
              <a:off x="2479091" y="5115583"/>
              <a:ext cx="153929" cy="189149"/>
            </a:xfrm>
            <a:custGeom>
              <a:avLst/>
              <a:gdLst>
                <a:gd name="connsiteX0" fmla="*/ 153930 w 153929"/>
                <a:gd name="connsiteY0" fmla="*/ 75972 h 189149"/>
                <a:gd name="connsiteX1" fmla="*/ 39191 w 153929"/>
                <a:gd name="connsiteY1" fmla="*/ 189150 h 189149"/>
                <a:gd name="connsiteX2" fmla="*/ 25401 w 153929"/>
                <a:gd name="connsiteY2" fmla="*/ 175100 h 189149"/>
                <a:gd name="connsiteX3" fmla="*/ 25921 w 153929"/>
                <a:gd name="connsiteY3" fmla="*/ 51515 h 189149"/>
                <a:gd name="connsiteX4" fmla="*/ 78218 w 153929"/>
                <a:gd name="connsiteY4" fmla="*/ 0 h 189149"/>
                <a:gd name="connsiteX5" fmla="*/ 153930 w 153929"/>
                <a:gd name="connsiteY5" fmla="*/ 76232 h 18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29" h="189149">
                  <a:moveTo>
                    <a:pt x="153930" y="75972"/>
                  </a:moveTo>
                  <a:lnTo>
                    <a:pt x="39191" y="189150"/>
                  </a:lnTo>
                  <a:lnTo>
                    <a:pt x="25401" y="175100"/>
                  </a:lnTo>
                  <a:cubicBezTo>
                    <a:pt x="-8683" y="140756"/>
                    <a:pt x="-8422" y="85338"/>
                    <a:pt x="25921" y="51515"/>
                  </a:cubicBezTo>
                  <a:lnTo>
                    <a:pt x="78218" y="0"/>
                  </a:lnTo>
                  <a:lnTo>
                    <a:pt x="153930" y="76232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8E8616B0-D91D-5945-663B-5D13984F2DBB}"/>
                </a:ext>
              </a:extLst>
            </p:cNvPr>
            <p:cNvSpPr/>
            <p:nvPr/>
          </p:nvSpPr>
          <p:spPr>
            <a:xfrm>
              <a:off x="2520493" y="5012553"/>
              <a:ext cx="153896" cy="190710"/>
            </a:xfrm>
            <a:custGeom>
              <a:avLst/>
              <a:gdLst>
                <a:gd name="connsiteX0" fmla="*/ 153896 w 153896"/>
                <a:gd name="connsiteY0" fmla="*/ 76232 h 190710"/>
                <a:gd name="connsiteX1" fmla="*/ 39677 w 153896"/>
                <a:gd name="connsiteY1" fmla="*/ 190710 h 190710"/>
                <a:gd name="connsiteX2" fmla="*/ 25367 w 153896"/>
                <a:gd name="connsiteY2" fmla="*/ 176140 h 190710"/>
                <a:gd name="connsiteX3" fmla="*/ 25367 w 153896"/>
                <a:gd name="connsiteY3" fmla="*/ 53076 h 190710"/>
                <a:gd name="connsiteX4" fmla="*/ 78184 w 153896"/>
                <a:gd name="connsiteY4" fmla="*/ 0 h 190710"/>
                <a:gd name="connsiteX5" fmla="*/ 153896 w 153896"/>
                <a:gd name="connsiteY5" fmla="*/ 76232 h 19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896" h="190710">
                  <a:moveTo>
                    <a:pt x="153896" y="76232"/>
                  </a:moveTo>
                  <a:lnTo>
                    <a:pt x="39677" y="190710"/>
                  </a:lnTo>
                  <a:lnTo>
                    <a:pt x="25367" y="176140"/>
                  </a:lnTo>
                  <a:cubicBezTo>
                    <a:pt x="-8456" y="142057"/>
                    <a:pt x="-8456" y="87159"/>
                    <a:pt x="25367" y="53076"/>
                  </a:cubicBezTo>
                  <a:lnTo>
                    <a:pt x="78184" y="0"/>
                  </a:lnTo>
                  <a:lnTo>
                    <a:pt x="153896" y="76232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4EF8B55-E304-18DA-C2F7-EFB5A0411645}"/>
                </a:ext>
              </a:extLst>
            </p:cNvPr>
            <p:cNvSpPr/>
            <p:nvPr/>
          </p:nvSpPr>
          <p:spPr>
            <a:xfrm>
              <a:off x="2326009" y="4967803"/>
              <a:ext cx="107454" cy="107193"/>
            </a:xfrm>
            <a:custGeom>
              <a:avLst/>
              <a:gdLst>
                <a:gd name="connsiteX0" fmla="*/ 260 w 107454"/>
                <a:gd name="connsiteY0" fmla="*/ 53336 h 107193"/>
                <a:gd name="connsiteX1" fmla="*/ 53597 w 107454"/>
                <a:gd name="connsiteY1" fmla="*/ 107193 h 107193"/>
                <a:gd name="connsiteX2" fmla="*/ 107454 w 107454"/>
                <a:gd name="connsiteY2" fmla="*/ 53857 h 107193"/>
                <a:gd name="connsiteX3" fmla="*/ 53857 w 107454"/>
                <a:gd name="connsiteY3" fmla="*/ 0 h 107193"/>
                <a:gd name="connsiteX4" fmla="*/ 0 w 107454"/>
                <a:gd name="connsiteY4" fmla="*/ 53336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4" h="107193">
                  <a:moveTo>
                    <a:pt x="260" y="53336"/>
                  </a:moveTo>
                  <a:cubicBezTo>
                    <a:pt x="260" y="82996"/>
                    <a:pt x="24197" y="107193"/>
                    <a:pt x="53597" y="107193"/>
                  </a:cubicBezTo>
                  <a:cubicBezTo>
                    <a:pt x="83258" y="107193"/>
                    <a:pt x="107454" y="83257"/>
                    <a:pt x="107454" y="53857"/>
                  </a:cubicBezTo>
                  <a:cubicBezTo>
                    <a:pt x="107454" y="24196"/>
                    <a:pt x="83518" y="0"/>
                    <a:pt x="53857" y="0"/>
                  </a:cubicBezTo>
                  <a:cubicBezTo>
                    <a:pt x="24197" y="0"/>
                    <a:pt x="260" y="23936"/>
                    <a:pt x="0" y="53336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532A3651-B914-D77C-015E-FCCDA4ECB682}"/>
                </a:ext>
              </a:extLst>
            </p:cNvPr>
            <p:cNvSpPr/>
            <p:nvPr/>
          </p:nvSpPr>
          <p:spPr>
            <a:xfrm>
              <a:off x="2539095" y="4924613"/>
              <a:ext cx="108496" cy="419146"/>
            </a:xfrm>
            <a:custGeom>
              <a:avLst/>
              <a:gdLst>
                <a:gd name="connsiteX0" fmla="*/ 1302 w 108496"/>
                <a:gd name="connsiteY0" fmla="*/ 0 h 419146"/>
                <a:gd name="connsiteX1" fmla="*/ 108497 w 108496"/>
                <a:gd name="connsiteY1" fmla="*/ 0 h 419146"/>
                <a:gd name="connsiteX2" fmla="*/ 106675 w 108496"/>
                <a:gd name="connsiteY2" fmla="*/ 419147 h 419146"/>
                <a:gd name="connsiteX3" fmla="*/ 86902 w 108496"/>
                <a:gd name="connsiteY3" fmla="*/ 419147 h 419146"/>
                <a:gd name="connsiteX4" fmla="*/ 1 w 108496"/>
                <a:gd name="connsiteY4" fmla="*/ 331466 h 419146"/>
                <a:gd name="connsiteX5" fmla="*/ 1563 w 108496"/>
                <a:gd name="connsiteY5" fmla="*/ 0 h 41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96" h="419146">
                  <a:moveTo>
                    <a:pt x="1302" y="0"/>
                  </a:moveTo>
                  <a:lnTo>
                    <a:pt x="108497" y="0"/>
                  </a:lnTo>
                  <a:cubicBezTo>
                    <a:pt x="108497" y="0"/>
                    <a:pt x="106675" y="419147"/>
                    <a:pt x="106675" y="419147"/>
                  </a:cubicBezTo>
                  <a:lnTo>
                    <a:pt x="86902" y="419147"/>
                  </a:lnTo>
                  <a:cubicBezTo>
                    <a:pt x="38508" y="419147"/>
                    <a:pt x="-259" y="379600"/>
                    <a:pt x="1" y="331466"/>
                  </a:cubicBezTo>
                  <a:lnTo>
                    <a:pt x="1563" y="0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D3A0E00-BA39-EAFC-A606-D00D010709B7}"/>
                </a:ext>
              </a:extLst>
            </p:cNvPr>
            <p:cNvSpPr/>
            <p:nvPr/>
          </p:nvSpPr>
          <p:spPr>
            <a:xfrm>
              <a:off x="2614548" y="5180628"/>
              <a:ext cx="66606" cy="66865"/>
            </a:xfrm>
            <a:custGeom>
              <a:avLst/>
              <a:gdLst>
                <a:gd name="connsiteX0" fmla="*/ 66606 w 66606"/>
                <a:gd name="connsiteY0" fmla="*/ 15611 h 66865"/>
                <a:gd name="connsiteX1" fmla="*/ 13790 w 66606"/>
                <a:gd name="connsiteY1" fmla="*/ 66866 h 66865"/>
                <a:gd name="connsiteX2" fmla="*/ 0 w 66606"/>
                <a:gd name="connsiteY2" fmla="*/ 26798 h 66865"/>
                <a:gd name="connsiteX3" fmla="*/ 53857 w 66606"/>
                <a:gd name="connsiteY3" fmla="*/ 0 h 66865"/>
                <a:gd name="connsiteX4" fmla="*/ 66606 w 66606"/>
                <a:gd name="connsiteY4" fmla="*/ 15611 h 6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06" h="66865">
                  <a:moveTo>
                    <a:pt x="66606" y="15611"/>
                  </a:moveTo>
                  <a:lnTo>
                    <a:pt x="13790" y="66866"/>
                  </a:lnTo>
                  <a:lnTo>
                    <a:pt x="0" y="26798"/>
                  </a:lnTo>
                  <a:lnTo>
                    <a:pt x="53857" y="0"/>
                  </a:lnTo>
                  <a:lnTo>
                    <a:pt x="66606" y="1561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D997F7A-5D51-B92B-CF18-65678E16EF6F}"/>
                </a:ext>
              </a:extLst>
            </p:cNvPr>
            <p:cNvSpPr/>
            <p:nvPr/>
          </p:nvSpPr>
          <p:spPr>
            <a:xfrm>
              <a:off x="2673869" y="5091647"/>
              <a:ext cx="66345" cy="66865"/>
            </a:xfrm>
            <a:custGeom>
              <a:avLst/>
              <a:gdLst>
                <a:gd name="connsiteX0" fmla="*/ 66346 w 66345"/>
                <a:gd name="connsiteY0" fmla="*/ 15611 h 66865"/>
                <a:gd name="connsiteX1" fmla="*/ 13790 w 66345"/>
                <a:gd name="connsiteY1" fmla="*/ 66866 h 66865"/>
                <a:gd name="connsiteX2" fmla="*/ 0 w 66345"/>
                <a:gd name="connsiteY2" fmla="*/ 26798 h 66865"/>
                <a:gd name="connsiteX3" fmla="*/ 53857 w 66345"/>
                <a:gd name="connsiteY3" fmla="*/ 0 h 66865"/>
                <a:gd name="connsiteX4" fmla="*/ 66346 w 66345"/>
                <a:gd name="connsiteY4" fmla="*/ 15611 h 6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345" h="66865">
                  <a:moveTo>
                    <a:pt x="66346" y="15611"/>
                  </a:moveTo>
                  <a:lnTo>
                    <a:pt x="13790" y="66866"/>
                  </a:lnTo>
                  <a:lnTo>
                    <a:pt x="0" y="26798"/>
                  </a:lnTo>
                  <a:lnTo>
                    <a:pt x="53857" y="0"/>
                  </a:lnTo>
                  <a:lnTo>
                    <a:pt x="66346" y="1561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43795D70-519C-4890-9B61-0C8338C1FA03}"/>
                </a:ext>
              </a:extLst>
            </p:cNvPr>
            <p:cNvSpPr/>
            <p:nvPr/>
          </p:nvSpPr>
          <p:spPr>
            <a:xfrm>
              <a:off x="2594515" y="5100233"/>
              <a:ext cx="107454" cy="107193"/>
            </a:xfrm>
            <a:custGeom>
              <a:avLst/>
              <a:gdLst>
                <a:gd name="connsiteX0" fmla="*/ 260 w 107454"/>
                <a:gd name="connsiteY0" fmla="*/ 53337 h 107193"/>
                <a:gd name="connsiteX1" fmla="*/ 53597 w 107454"/>
                <a:gd name="connsiteY1" fmla="*/ 107193 h 107193"/>
                <a:gd name="connsiteX2" fmla="*/ 107454 w 107454"/>
                <a:gd name="connsiteY2" fmla="*/ 53857 h 107193"/>
                <a:gd name="connsiteX3" fmla="*/ 53857 w 107454"/>
                <a:gd name="connsiteY3" fmla="*/ 0 h 107193"/>
                <a:gd name="connsiteX4" fmla="*/ 0 w 107454"/>
                <a:gd name="connsiteY4" fmla="*/ 53337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4" h="107193">
                  <a:moveTo>
                    <a:pt x="260" y="53337"/>
                  </a:moveTo>
                  <a:cubicBezTo>
                    <a:pt x="260" y="82997"/>
                    <a:pt x="24197" y="107193"/>
                    <a:pt x="53597" y="107193"/>
                  </a:cubicBezTo>
                  <a:cubicBezTo>
                    <a:pt x="83258" y="107193"/>
                    <a:pt x="107454" y="83257"/>
                    <a:pt x="107454" y="53857"/>
                  </a:cubicBezTo>
                  <a:cubicBezTo>
                    <a:pt x="107454" y="24196"/>
                    <a:pt x="83518" y="0"/>
                    <a:pt x="53857" y="0"/>
                  </a:cubicBezTo>
                  <a:cubicBezTo>
                    <a:pt x="24197" y="0"/>
                    <a:pt x="260" y="23936"/>
                    <a:pt x="0" y="53337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10D1A26-DDE7-495E-9278-F36804862041}"/>
                </a:ext>
              </a:extLst>
            </p:cNvPr>
            <p:cNvSpPr/>
            <p:nvPr/>
          </p:nvSpPr>
          <p:spPr>
            <a:xfrm rot="16211400">
              <a:off x="2487104" y="4914696"/>
              <a:ext cx="321842" cy="107193"/>
            </a:xfrm>
            <a:custGeom>
              <a:avLst/>
              <a:gdLst>
                <a:gd name="connsiteX0" fmla="*/ 0 w 321842"/>
                <a:gd name="connsiteY0" fmla="*/ 0 h 107193"/>
                <a:gd name="connsiteX1" fmla="*/ 321843 w 321842"/>
                <a:gd name="connsiteY1" fmla="*/ 0 h 107193"/>
                <a:gd name="connsiteX2" fmla="*/ 321843 w 321842"/>
                <a:gd name="connsiteY2" fmla="*/ 107193 h 107193"/>
                <a:gd name="connsiteX3" fmla="*/ 0 w 321842"/>
                <a:gd name="connsiteY3" fmla="*/ 107193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842" h="107193">
                  <a:moveTo>
                    <a:pt x="0" y="0"/>
                  </a:moveTo>
                  <a:lnTo>
                    <a:pt x="321843" y="0"/>
                  </a:lnTo>
                  <a:lnTo>
                    <a:pt x="321843" y="107193"/>
                  </a:lnTo>
                  <a:lnTo>
                    <a:pt x="0" y="107193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EF0C3C95-E63F-1260-19E3-DBC366EF6826}"/>
                </a:ext>
              </a:extLst>
            </p:cNvPr>
            <p:cNvSpPr/>
            <p:nvPr/>
          </p:nvSpPr>
          <p:spPr>
            <a:xfrm>
              <a:off x="2647851" y="5017236"/>
              <a:ext cx="107454" cy="107193"/>
            </a:xfrm>
            <a:custGeom>
              <a:avLst/>
              <a:gdLst>
                <a:gd name="connsiteX0" fmla="*/ 260 w 107454"/>
                <a:gd name="connsiteY0" fmla="*/ 53337 h 107193"/>
                <a:gd name="connsiteX1" fmla="*/ 53597 w 107454"/>
                <a:gd name="connsiteY1" fmla="*/ 107193 h 107193"/>
                <a:gd name="connsiteX2" fmla="*/ 107454 w 107454"/>
                <a:gd name="connsiteY2" fmla="*/ 53857 h 107193"/>
                <a:gd name="connsiteX3" fmla="*/ 53857 w 107454"/>
                <a:gd name="connsiteY3" fmla="*/ 0 h 107193"/>
                <a:gd name="connsiteX4" fmla="*/ 0 w 107454"/>
                <a:gd name="connsiteY4" fmla="*/ 53337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4" h="107193">
                  <a:moveTo>
                    <a:pt x="260" y="53337"/>
                  </a:moveTo>
                  <a:cubicBezTo>
                    <a:pt x="260" y="82997"/>
                    <a:pt x="24197" y="107193"/>
                    <a:pt x="53597" y="107193"/>
                  </a:cubicBezTo>
                  <a:cubicBezTo>
                    <a:pt x="83258" y="107193"/>
                    <a:pt x="107454" y="83257"/>
                    <a:pt x="107454" y="53857"/>
                  </a:cubicBezTo>
                  <a:cubicBezTo>
                    <a:pt x="107454" y="24196"/>
                    <a:pt x="83518" y="0"/>
                    <a:pt x="53857" y="0"/>
                  </a:cubicBezTo>
                  <a:cubicBezTo>
                    <a:pt x="24197" y="0"/>
                    <a:pt x="260" y="23936"/>
                    <a:pt x="0" y="53337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989587D-E6A0-B5C9-129C-6887AD3143C7}"/>
                </a:ext>
              </a:extLst>
            </p:cNvPr>
            <p:cNvSpPr/>
            <p:nvPr/>
          </p:nvSpPr>
          <p:spPr>
            <a:xfrm>
              <a:off x="2647851" y="4561925"/>
              <a:ext cx="108495" cy="514111"/>
            </a:xfrm>
            <a:custGeom>
              <a:avLst/>
              <a:gdLst>
                <a:gd name="connsiteX0" fmla="*/ 108495 w 108495"/>
                <a:gd name="connsiteY0" fmla="*/ 0 h 514111"/>
                <a:gd name="connsiteX1" fmla="*/ 107454 w 108495"/>
                <a:gd name="connsiteY1" fmla="*/ 514112 h 514111"/>
                <a:gd name="connsiteX2" fmla="*/ 0 w 108495"/>
                <a:gd name="connsiteY2" fmla="*/ 513852 h 514111"/>
                <a:gd name="connsiteX3" fmla="*/ 1041 w 108495"/>
                <a:gd name="connsiteY3" fmla="*/ 0 h 514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95" h="514111">
                  <a:moveTo>
                    <a:pt x="108495" y="0"/>
                  </a:moveTo>
                  <a:lnTo>
                    <a:pt x="107454" y="514112"/>
                  </a:lnTo>
                  <a:lnTo>
                    <a:pt x="0" y="513852"/>
                  </a:lnTo>
                  <a:lnTo>
                    <a:pt x="1041" y="0"/>
                  </a:ln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8C5BCFD7-03DF-0590-F5D2-9154B318D0DC}"/>
                </a:ext>
              </a:extLst>
            </p:cNvPr>
            <p:cNvSpPr/>
            <p:nvPr/>
          </p:nvSpPr>
          <p:spPr>
            <a:xfrm>
              <a:off x="2325488" y="4561925"/>
              <a:ext cx="430858" cy="460514"/>
            </a:xfrm>
            <a:custGeom>
              <a:avLst/>
              <a:gdLst>
                <a:gd name="connsiteX0" fmla="*/ 430858 w 430858"/>
                <a:gd name="connsiteY0" fmla="*/ 0 h 460514"/>
                <a:gd name="connsiteX1" fmla="*/ 428777 w 430858"/>
                <a:gd name="connsiteY1" fmla="*/ 460515 h 460514"/>
                <a:gd name="connsiteX2" fmla="*/ 215429 w 430858"/>
                <a:gd name="connsiteY2" fmla="*/ 406138 h 460514"/>
                <a:gd name="connsiteX3" fmla="*/ 161832 w 430858"/>
                <a:gd name="connsiteY3" fmla="*/ 352281 h 460514"/>
                <a:gd name="connsiteX4" fmla="*/ 107975 w 430858"/>
                <a:gd name="connsiteY4" fmla="*/ 405878 h 460514"/>
                <a:gd name="connsiteX5" fmla="*/ 107975 w 430858"/>
                <a:gd name="connsiteY5" fmla="*/ 459474 h 460514"/>
                <a:gd name="connsiteX6" fmla="*/ 520 w 430858"/>
                <a:gd name="connsiteY6" fmla="*/ 459214 h 460514"/>
                <a:gd name="connsiteX7" fmla="*/ 0 w 430858"/>
                <a:gd name="connsiteY7" fmla="*/ 175100 h 460514"/>
                <a:gd name="connsiteX8" fmla="*/ 174581 w 430858"/>
                <a:gd name="connsiteY8" fmla="*/ 260 h 46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0858" h="460514">
                  <a:moveTo>
                    <a:pt x="430858" y="0"/>
                  </a:moveTo>
                  <a:lnTo>
                    <a:pt x="428777" y="460515"/>
                  </a:lnTo>
                  <a:lnTo>
                    <a:pt x="215429" y="406138"/>
                  </a:lnTo>
                  <a:cubicBezTo>
                    <a:pt x="215429" y="376478"/>
                    <a:pt x="191493" y="352541"/>
                    <a:pt x="161832" y="352281"/>
                  </a:cubicBezTo>
                  <a:cubicBezTo>
                    <a:pt x="132172" y="352281"/>
                    <a:pt x="107975" y="376218"/>
                    <a:pt x="107975" y="405878"/>
                  </a:cubicBezTo>
                  <a:lnTo>
                    <a:pt x="107975" y="459474"/>
                  </a:lnTo>
                  <a:cubicBezTo>
                    <a:pt x="107975" y="459474"/>
                    <a:pt x="520" y="459214"/>
                    <a:pt x="520" y="459214"/>
                  </a:cubicBezTo>
                  <a:lnTo>
                    <a:pt x="0" y="175100"/>
                  </a:lnTo>
                  <a:cubicBezTo>
                    <a:pt x="0" y="78574"/>
                    <a:pt x="78054" y="260"/>
                    <a:pt x="174581" y="260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AC6A95E-D199-F421-01D5-905CE1D9D411}"/>
                </a:ext>
              </a:extLst>
            </p:cNvPr>
            <p:cNvSpPr/>
            <p:nvPr/>
          </p:nvSpPr>
          <p:spPr>
            <a:xfrm>
              <a:off x="2343701" y="4539809"/>
              <a:ext cx="412645" cy="75191"/>
            </a:xfrm>
            <a:custGeom>
              <a:avLst/>
              <a:gdLst>
                <a:gd name="connsiteX0" fmla="*/ 412646 w 412645"/>
                <a:gd name="connsiteY0" fmla="*/ 0 h 75191"/>
                <a:gd name="connsiteX1" fmla="*/ 412646 w 412645"/>
                <a:gd name="connsiteY1" fmla="*/ 75191 h 75191"/>
                <a:gd name="connsiteX2" fmla="*/ 0 w 412645"/>
                <a:gd name="connsiteY2" fmla="*/ 75191 h 75191"/>
                <a:gd name="connsiteX3" fmla="*/ 0 w 412645"/>
                <a:gd name="connsiteY3" fmla="*/ 0 h 7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645" h="75191">
                  <a:moveTo>
                    <a:pt x="412646" y="0"/>
                  </a:moveTo>
                  <a:lnTo>
                    <a:pt x="412646" y="75191"/>
                  </a:lnTo>
                  <a:lnTo>
                    <a:pt x="0" y="7519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FBBB060-95A8-97D5-8D99-FEFCBCDF29D5}"/>
                </a:ext>
              </a:extLst>
            </p:cNvPr>
            <p:cNvSpPr/>
            <p:nvPr/>
          </p:nvSpPr>
          <p:spPr>
            <a:xfrm>
              <a:off x="325031" y="3438997"/>
              <a:ext cx="1172304" cy="4714227"/>
            </a:xfrm>
            <a:custGeom>
              <a:avLst/>
              <a:gdLst>
                <a:gd name="connsiteX0" fmla="*/ 621763 w 1172304"/>
                <a:gd name="connsiteY0" fmla="*/ 4712864 h 4714227"/>
                <a:gd name="connsiteX1" fmla="*/ 56392 w 1172304"/>
                <a:gd name="connsiteY1" fmla="*/ 4599687 h 4714227"/>
                <a:gd name="connsiteX2" fmla="*/ 193 w 1172304"/>
                <a:gd name="connsiteY2" fmla="*/ 4525536 h 4714227"/>
                <a:gd name="connsiteX3" fmla="*/ 335305 w 1172304"/>
                <a:gd name="connsiteY3" fmla="*/ 0 h 4714227"/>
                <a:gd name="connsiteX4" fmla="*/ 1172304 w 1172304"/>
                <a:gd name="connsiteY4" fmla="*/ 0 h 4714227"/>
                <a:gd name="connsiteX5" fmla="*/ 705541 w 1172304"/>
                <a:gd name="connsiteY5" fmla="*/ 4650942 h 4714227"/>
                <a:gd name="connsiteX6" fmla="*/ 622023 w 1172304"/>
                <a:gd name="connsiteY6" fmla="*/ 4712864 h 471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2304" h="4714227">
                  <a:moveTo>
                    <a:pt x="621763" y="4712864"/>
                  </a:moveTo>
                  <a:lnTo>
                    <a:pt x="56392" y="4599687"/>
                  </a:lnTo>
                  <a:cubicBezTo>
                    <a:pt x="21528" y="4592662"/>
                    <a:pt x="-2409" y="4560921"/>
                    <a:pt x="193" y="4525536"/>
                  </a:cubicBezTo>
                  <a:lnTo>
                    <a:pt x="335305" y="0"/>
                  </a:lnTo>
                  <a:lnTo>
                    <a:pt x="1172304" y="0"/>
                  </a:lnTo>
                  <a:lnTo>
                    <a:pt x="705541" y="4650942"/>
                  </a:lnTo>
                  <a:cubicBezTo>
                    <a:pt x="701378" y="4692310"/>
                    <a:pt x="662612" y="4720930"/>
                    <a:pt x="622023" y="4712864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B72A6CA7-408F-52B0-55BB-E7EC57BD8246}"/>
                </a:ext>
              </a:extLst>
            </p:cNvPr>
            <p:cNvSpPr/>
            <p:nvPr/>
          </p:nvSpPr>
          <p:spPr>
            <a:xfrm>
              <a:off x="1154939" y="3438997"/>
              <a:ext cx="1172304" cy="4714227"/>
            </a:xfrm>
            <a:custGeom>
              <a:avLst/>
              <a:gdLst>
                <a:gd name="connsiteX0" fmla="*/ 550541 w 1172304"/>
                <a:gd name="connsiteY0" fmla="*/ 4712864 h 4714227"/>
                <a:gd name="connsiteX1" fmla="*/ 1115912 w 1172304"/>
                <a:gd name="connsiteY1" fmla="*/ 4599687 h 4714227"/>
                <a:gd name="connsiteX2" fmla="*/ 1172111 w 1172304"/>
                <a:gd name="connsiteY2" fmla="*/ 4525536 h 4714227"/>
                <a:gd name="connsiteX3" fmla="*/ 836999 w 1172304"/>
                <a:gd name="connsiteY3" fmla="*/ 0 h 4714227"/>
                <a:gd name="connsiteX4" fmla="*/ 0 w 1172304"/>
                <a:gd name="connsiteY4" fmla="*/ 0 h 4714227"/>
                <a:gd name="connsiteX5" fmla="*/ 466763 w 1172304"/>
                <a:gd name="connsiteY5" fmla="*/ 4650942 h 4714227"/>
                <a:gd name="connsiteX6" fmla="*/ 550281 w 1172304"/>
                <a:gd name="connsiteY6" fmla="*/ 4712864 h 471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2304" h="4714227">
                  <a:moveTo>
                    <a:pt x="550541" y="4712864"/>
                  </a:moveTo>
                  <a:lnTo>
                    <a:pt x="1115912" y="4599687"/>
                  </a:lnTo>
                  <a:cubicBezTo>
                    <a:pt x="1150776" y="4592662"/>
                    <a:pt x="1174713" y="4560921"/>
                    <a:pt x="1172111" y="4525536"/>
                  </a:cubicBezTo>
                  <a:lnTo>
                    <a:pt x="836999" y="0"/>
                  </a:lnTo>
                  <a:lnTo>
                    <a:pt x="0" y="0"/>
                  </a:lnTo>
                  <a:lnTo>
                    <a:pt x="466763" y="4650942"/>
                  </a:lnTo>
                  <a:cubicBezTo>
                    <a:pt x="470926" y="4692310"/>
                    <a:pt x="509693" y="4720930"/>
                    <a:pt x="550281" y="4712864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1D65F90-0810-6E13-902E-8E7F7EC8C840}"/>
                </a:ext>
              </a:extLst>
            </p:cNvPr>
            <p:cNvSpPr/>
            <p:nvPr/>
          </p:nvSpPr>
          <p:spPr>
            <a:xfrm>
              <a:off x="610122" y="1807941"/>
              <a:ext cx="1441397" cy="2352277"/>
            </a:xfrm>
            <a:custGeom>
              <a:avLst/>
              <a:gdLst>
                <a:gd name="connsiteX0" fmla="*/ 1441397 w 1441397"/>
                <a:gd name="connsiteY0" fmla="*/ 2291127 h 2352277"/>
                <a:gd name="connsiteX1" fmla="*/ 1439576 w 1441397"/>
                <a:gd name="connsiteY1" fmla="*/ 2305957 h 2352277"/>
                <a:gd name="connsiteX2" fmla="*/ 1382336 w 1441397"/>
                <a:gd name="connsiteY2" fmla="*/ 2350968 h 2352277"/>
                <a:gd name="connsiteX3" fmla="*/ 1122417 w 1441397"/>
                <a:gd name="connsiteY3" fmla="*/ 2350968 h 2352277"/>
                <a:gd name="connsiteX4" fmla="*/ 1118254 w 1441397"/>
                <a:gd name="connsiteY4" fmla="*/ 2351229 h 2352277"/>
                <a:gd name="connsiteX5" fmla="*/ 812282 w 1441397"/>
                <a:gd name="connsiteY5" fmla="*/ 2351229 h 2352277"/>
                <a:gd name="connsiteX6" fmla="*/ 754782 w 1441397"/>
                <a:gd name="connsiteY6" fmla="*/ 2351749 h 2352277"/>
                <a:gd name="connsiteX7" fmla="*/ 627034 w 1441397"/>
                <a:gd name="connsiteY7" fmla="*/ 2351749 h 2352277"/>
                <a:gd name="connsiteX8" fmla="*/ 337714 w 1441397"/>
                <a:gd name="connsiteY8" fmla="*/ 2352269 h 2352277"/>
                <a:gd name="connsiteX9" fmla="*/ 59061 w 1441397"/>
                <a:gd name="connsiteY9" fmla="*/ 2352269 h 2352277"/>
                <a:gd name="connsiteX10" fmla="*/ 260 w 1441397"/>
                <a:gd name="connsiteY10" fmla="*/ 2299713 h 2352277"/>
                <a:gd name="connsiteX11" fmla="*/ 260 w 1441397"/>
                <a:gd name="connsiteY11" fmla="*/ 2298933 h 2352277"/>
                <a:gd name="connsiteX12" fmla="*/ 0 w 1441397"/>
                <a:gd name="connsiteY12" fmla="*/ 2293729 h 2352277"/>
                <a:gd name="connsiteX13" fmla="*/ 201640 w 1441397"/>
                <a:gd name="connsiteY13" fmla="*/ 0 h 2352277"/>
                <a:gd name="connsiteX14" fmla="*/ 1325097 w 1441397"/>
                <a:gd name="connsiteY14" fmla="*/ 0 h 2352277"/>
                <a:gd name="connsiteX15" fmla="*/ 1441397 w 1441397"/>
                <a:gd name="connsiteY15" fmla="*/ 2291127 h 235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41397" h="2352277">
                  <a:moveTo>
                    <a:pt x="1441397" y="2291127"/>
                  </a:moveTo>
                  <a:cubicBezTo>
                    <a:pt x="1441397" y="2296331"/>
                    <a:pt x="1440877" y="2301274"/>
                    <a:pt x="1439576" y="2305957"/>
                  </a:cubicBezTo>
                  <a:cubicBezTo>
                    <a:pt x="1433332" y="2331715"/>
                    <a:pt x="1410176" y="2350968"/>
                    <a:pt x="1382336" y="2350968"/>
                  </a:cubicBezTo>
                  <a:lnTo>
                    <a:pt x="1122417" y="2350968"/>
                  </a:lnTo>
                  <a:cubicBezTo>
                    <a:pt x="1122417" y="2350968"/>
                    <a:pt x="1118254" y="2351229"/>
                    <a:pt x="1118254" y="2351229"/>
                  </a:cubicBezTo>
                  <a:lnTo>
                    <a:pt x="812282" y="2351229"/>
                  </a:lnTo>
                  <a:cubicBezTo>
                    <a:pt x="812282" y="2351229"/>
                    <a:pt x="754782" y="2351749"/>
                    <a:pt x="754782" y="2351749"/>
                  </a:cubicBezTo>
                  <a:lnTo>
                    <a:pt x="627034" y="2351749"/>
                  </a:lnTo>
                  <a:cubicBezTo>
                    <a:pt x="627034" y="2351749"/>
                    <a:pt x="337714" y="2352269"/>
                    <a:pt x="337714" y="2352269"/>
                  </a:cubicBezTo>
                  <a:lnTo>
                    <a:pt x="59061" y="2352269"/>
                  </a:lnTo>
                  <a:cubicBezTo>
                    <a:pt x="28620" y="2352790"/>
                    <a:pt x="3122" y="2329373"/>
                    <a:pt x="260" y="2299713"/>
                  </a:cubicBezTo>
                  <a:lnTo>
                    <a:pt x="260" y="2298933"/>
                  </a:lnTo>
                  <a:cubicBezTo>
                    <a:pt x="0" y="2297111"/>
                    <a:pt x="0" y="2295550"/>
                    <a:pt x="0" y="2293729"/>
                  </a:cubicBezTo>
                  <a:lnTo>
                    <a:pt x="201640" y="0"/>
                  </a:lnTo>
                  <a:lnTo>
                    <a:pt x="1325097" y="0"/>
                  </a:lnTo>
                  <a:lnTo>
                    <a:pt x="1441397" y="2291127"/>
                  </a:lnTo>
                  <a:close/>
                </a:path>
              </a:pathLst>
            </a:custGeom>
            <a:solidFill>
              <a:srgbClr val="F2F2F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F8034F6-ABEC-A662-E89D-6ADC5FA60D0D}"/>
                </a:ext>
              </a:extLst>
            </p:cNvPr>
            <p:cNvSpPr/>
            <p:nvPr/>
          </p:nvSpPr>
          <p:spPr>
            <a:xfrm>
              <a:off x="512796" y="1806640"/>
              <a:ext cx="621328" cy="2498749"/>
            </a:xfrm>
            <a:custGeom>
              <a:avLst/>
              <a:gdLst>
                <a:gd name="connsiteX0" fmla="*/ 621329 w 621328"/>
                <a:gd name="connsiteY0" fmla="*/ 0 h 2498749"/>
                <a:gd name="connsiteX1" fmla="*/ 490458 w 621328"/>
                <a:gd name="connsiteY1" fmla="*/ 2293729 h 2498749"/>
                <a:gd name="connsiteX2" fmla="*/ 480571 w 621328"/>
                <a:gd name="connsiteY2" fmla="*/ 2352269 h 2498749"/>
                <a:gd name="connsiteX3" fmla="*/ 477189 w 621328"/>
                <a:gd name="connsiteY3" fmla="*/ 2361896 h 2498749"/>
                <a:gd name="connsiteX4" fmla="*/ 279972 w 621328"/>
                <a:gd name="connsiteY4" fmla="*/ 2498749 h 2498749"/>
                <a:gd name="connsiteX5" fmla="*/ 70267 w 621328"/>
                <a:gd name="connsiteY5" fmla="*/ 2498749 h 2498749"/>
                <a:gd name="connsiteX6" fmla="*/ 279 w 621328"/>
                <a:gd name="connsiteY6" fmla="*/ 2422257 h 2498749"/>
                <a:gd name="connsiteX7" fmla="*/ 162631 w 621328"/>
                <a:gd name="connsiteY7" fmla="*/ 0 h 2498749"/>
                <a:gd name="connsiteX8" fmla="*/ 621329 w 621328"/>
                <a:gd name="connsiteY8" fmla="*/ 0 h 249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1328" h="2498749">
                  <a:moveTo>
                    <a:pt x="621329" y="0"/>
                  </a:moveTo>
                  <a:lnTo>
                    <a:pt x="490458" y="2293729"/>
                  </a:lnTo>
                  <a:cubicBezTo>
                    <a:pt x="489938" y="2314023"/>
                    <a:pt x="486295" y="2333797"/>
                    <a:pt x="480571" y="2352269"/>
                  </a:cubicBezTo>
                  <a:cubicBezTo>
                    <a:pt x="479530" y="2355652"/>
                    <a:pt x="478490" y="2358774"/>
                    <a:pt x="477189" y="2361896"/>
                  </a:cubicBezTo>
                  <a:cubicBezTo>
                    <a:pt x="447268" y="2442031"/>
                    <a:pt x="369995" y="2498749"/>
                    <a:pt x="279972" y="2498749"/>
                  </a:cubicBezTo>
                  <a:lnTo>
                    <a:pt x="70267" y="2498749"/>
                  </a:lnTo>
                  <a:cubicBezTo>
                    <a:pt x="29159" y="2498749"/>
                    <a:pt x="-3364" y="2463365"/>
                    <a:pt x="279" y="2422257"/>
                  </a:cubicBezTo>
                  <a:lnTo>
                    <a:pt x="162631" y="0"/>
                  </a:lnTo>
                  <a:lnTo>
                    <a:pt x="621329" y="0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8B842E8C-51AA-747F-9971-12F3AC74776A}"/>
                </a:ext>
              </a:extLst>
            </p:cNvPr>
            <p:cNvSpPr/>
            <p:nvPr/>
          </p:nvSpPr>
          <p:spPr>
            <a:xfrm>
              <a:off x="1616758" y="1806640"/>
              <a:ext cx="621367" cy="2498749"/>
            </a:xfrm>
            <a:custGeom>
              <a:avLst/>
              <a:gdLst>
                <a:gd name="connsiteX0" fmla="*/ 260 w 621367"/>
                <a:gd name="connsiteY0" fmla="*/ 0 h 2498749"/>
                <a:gd name="connsiteX1" fmla="*/ 131131 w 621367"/>
                <a:gd name="connsiteY1" fmla="*/ 2293729 h 2498749"/>
                <a:gd name="connsiteX2" fmla="*/ 141018 w 621367"/>
                <a:gd name="connsiteY2" fmla="*/ 2352269 h 2498749"/>
                <a:gd name="connsiteX3" fmla="*/ 144400 w 621367"/>
                <a:gd name="connsiteY3" fmla="*/ 2361896 h 2498749"/>
                <a:gd name="connsiteX4" fmla="*/ 341616 w 621367"/>
                <a:gd name="connsiteY4" fmla="*/ 2498749 h 2498749"/>
                <a:gd name="connsiteX5" fmla="*/ 551322 w 621367"/>
                <a:gd name="connsiteY5" fmla="*/ 2498749 h 2498749"/>
                <a:gd name="connsiteX6" fmla="*/ 621050 w 621367"/>
                <a:gd name="connsiteY6" fmla="*/ 2422257 h 2498749"/>
                <a:gd name="connsiteX7" fmla="*/ 458697 w 621367"/>
                <a:gd name="connsiteY7" fmla="*/ 0 h 2498749"/>
                <a:gd name="connsiteX8" fmla="*/ 0 w 621367"/>
                <a:gd name="connsiteY8" fmla="*/ 0 h 249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1367" h="2498749">
                  <a:moveTo>
                    <a:pt x="260" y="0"/>
                  </a:moveTo>
                  <a:lnTo>
                    <a:pt x="131131" y="2293729"/>
                  </a:lnTo>
                  <a:cubicBezTo>
                    <a:pt x="131651" y="2314023"/>
                    <a:pt x="135033" y="2333797"/>
                    <a:pt x="141018" y="2352269"/>
                  </a:cubicBezTo>
                  <a:cubicBezTo>
                    <a:pt x="142058" y="2355652"/>
                    <a:pt x="143099" y="2358774"/>
                    <a:pt x="144400" y="2361896"/>
                  </a:cubicBezTo>
                  <a:cubicBezTo>
                    <a:pt x="174321" y="2442031"/>
                    <a:pt x="251594" y="2498749"/>
                    <a:pt x="341616" y="2498749"/>
                  </a:cubicBezTo>
                  <a:lnTo>
                    <a:pt x="551322" y="2498749"/>
                  </a:lnTo>
                  <a:cubicBezTo>
                    <a:pt x="592430" y="2498749"/>
                    <a:pt x="624953" y="2463365"/>
                    <a:pt x="621050" y="2422257"/>
                  </a:cubicBezTo>
                  <a:lnTo>
                    <a:pt x="4586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5C6D0BA7-EFE2-D267-B76D-605930B33E84}"/>
                </a:ext>
              </a:extLst>
            </p:cNvPr>
            <p:cNvSpPr/>
            <p:nvPr/>
          </p:nvSpPr>
          <p:spPr>
            <a:xfrm>
              <a:off x="1618059" y="1807681"/>
              <a:ext cx="280213" cy="1735126"/>
            </a:xfrm>
            <a:custGeom>
              <a:avLst/>
              <a:gdLst>
                <a:gd name="connsiteX0" fmla="*/ 156628 w 280213"/>
                <a:gd name="connsiteY0" fmla="*/ 0 h 1735126"/>
                <a:gd name="connsiteX1" fmla="*/ 261221 w 280213"/>
                <a:gd name="connsiteY1" fmla="*/ 187849 h 1735126"/>
                <a:gd name="connsiteX2" fmla="*/ 200078 w 280213"/>
                <a:gd name="connsiteY2" fmla="*/ 283074 h 1735126"/>
                <a:gd name="connsiteX3" fmla="*/ 280214 w 280213"/>
                <a:gd name="connsiteY3" fmla="*/ 364249 h 1735126"/>
                <a:gd name="connsiteX4" fmla="*/ 191753 w 280213"/>
                <a:gd name="connsiteY4" fmla="*/ 1318842 h 1735126"/>
                <a:gd name="connsiteX5" fmla="*/ 99129 w 280213"/>
                <a:gd name="connsiteY5" fmla="*/ 1735127 h 1735126"/>
                <a:gd name="connsiteX6" fmla="*/ 0 w 280213"/>
                <a:gd name="connsiteY6" fmla="*/ 260 h 1735126"/>
                <a:gd name="connsiteX7" fmla="*/ 156889 w 280213"/>
                <a:gd name="connsiteY7" fmla="*/ 260 h 173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213" h="1735126">
                  <a:moveTo>
                    <a:pt x="156628" y="0"/>
                  </a:moveTo>
                  <a:lnTo>
                    <a:pt x="261221" y="187849"/>
                  </a:lnTo>
                  <a:lnTo>
                    <a:pt x="200078" y="283074"/>
                  </a:lnTo>
                  <a:lnTo>
                    <a:pt x="280214" y="364249"/>
                  </a:lnTo>
                  <a:cubicBezTo>
                    <a:pt x="280214" y="364249"/>
                    <a:pt x="228958" y="1082080"/>
                    <a:pt x="191753" y="1318842"/>
                  </a:cubicBezTo>
                  <a:cubicBezTo>
                    <a:pt x="175101" y="1424214"/>
                    <a:pt x="99129" y="1735127"/>
                    <a:pt x="99129" y="1735127"/>
                  </a:cubicBezTo>
                  <a:lnTo>
                    <a:pt x="0" y="260"/>
                  </a:lnTo>
                  <a:lnTo>
                    <a:pt x="156889" y="260"/>
                  </a:lnTo>
                  <a:close/>
                </a:path>
              </a:pathLst>
            </a:custGeom>
            <a:solidFill>
              <a:srgbClr val="1A1B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81E9596B-CABB-008C-8DE5-E586AF319B3A}"/>
                </a:ext>
              </a:extLst>
            </p:cNvPr>
            <p:cNvSpPr/>
            <p:nvPr/>
          </p:nvSpPr>
          <p:spPr>
            <a:xfrm>
              <a:off x="1132563" y="548680"/>
              <a:ext cx="728243" cy="430854"/>
            </a:xfrm>
            <a:custGeom>
              <a:avLst/>
              <a:gdLst>
                <a:gd name="connsiteX0" fmla="*/ 376481 w 728243"/>
                <a:gd name="connsiteY0" fmla="*/ 0 h 430854"/>
                <a:gd name="connsiteX1" fmla="*/ 220112 w 728243"/>
                <a:gd name="connsiteY1" fmla="*/ 0 h 430854"/>
                <a:gd name="connsiteX2" fmla="*/ 0 w 728243"/>
                <a:gd name="connsiteY2" fmla="*/ 220371 h 430854"/>
                <a:gd name="connsiteX3" fmla="*/ 0 w 728243"/>
                <a:gd name="connsiteY3" fmla="*/ 430855 h 430854"/>
                <a:gd name="connsiteX4" fmla="*/ 728244 w 728243"/>
                <a:gd name="connsiteY4" fmla="*/ 430855 h 430854"/>
                <a:gd name="connsiteX5" fmla="*/ 728244 w 728243"/>
                <a:gd name="connsiteY5" fmla="*/ 351761 h 430854"/>
                <a:gd name="connsiteX6" fmla="*/ 376481 w 728243"/>
                <a:gd name="connsiteY6" fmla="*/ 0 h 43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243" h="430854">
                  <a:moveTo>
                    <a:pt x="376481" y="0"/>
                  </a:moveTo>
                  <a:lnTo>
                    <a:pt x="220112" y="0"/>
                  </a:lnTo>
                  <a:cubicBezTo>
                    <a:pt x="98348" y="0"/>
                    <a:pt x="0" y="98607"/>
                    <a:pt x="0" y="220371"/>
                  </a:cubicBezTo>
                  <a:lnTo>
                    <a:pt x="0" y="430855"/>
                  </a:lnTo>
                  <a:lnTo>
                    <a:pt x="728244" y="430855"/>
                  </a:lnTo>
                  <a:lnTo>
                    <a:pt x="728244" y="351761"/>
                  </a:lnTo>
                  <a:cubicBezTo>
                    <a:pt x="728244" y="157408"/>
                    <a:pt x="570835" y="0"/>
                    <a:pt x="376481" y="0"/>
                  </a:cubicBezTo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7CC904F4-0A98-1745-0647-AD989233B991}"/>
                </a:ext>
              </a:extLst>
            </p:cNvPr>
            <p:cNvSpPr/>
            <p:nvPr/>
          </p:nvSpPr>
          <p:spPr>
            <a:xfrm>
              <a:off x="1149620" y="1319847"/>
              <a:ext cx="502002" cy="759459"/>
            </a:xfrm>
            <a:custGeom>
              <a:avLst/>
              <a:gdLst>
                <a:gd name="connsiteX0" fmla="*/ 1156 w 502002"/>
                <a:gd name="connsiteY0" fmla="*/ 586962 h 759459"/>
                <a:gd name="connsiteX1" fmla="*/ 69323 w 502002"/>
                <a:gd name="connsiteY1" fmla="*/ 0 h 759459"/>
                <a:gd name="connsiteX2" fmla="*/ 502002 w 502002"/>
                <a:gd name="connsiteY2" fmla="*/ 42929 h 759459"/>
                <a:gd name="connsiteX3" fmla="*/ 427851 w 502002"/>
                <a:gd name="connsiteY3" fmla="*/ 638217 h 759459"/>
                <a:gd name="connsiteX4" fmla="*/ 220228 w 502002"/>
                <a:gd name="connsiteY4" fmla="*/ 717051 h 759459"/>
                <a:gd name="connsiteX5" fmla="*/ 204357 w 502002"/>
                <a:gd name="connsiteY5" fmla="*/ 759460 h 759459"/>
                <a:gd name="connsiteX6" fmla="*/ 1156 w 502002"/>
                <a:gd name="connsiteY6" fmla="*/ 586701 h 75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2002" h="759459">
                  <a:moveTo>
                    <a:pt x="1156" y="586962"/>
                  </a:moveTo>
                  <a:lnTo>
                    <a:pt x="69323" y="0"/>
                  </a:lnTo>
                  <a:lnTo>
                    <a:pt x="502002" y="42929"/>
                  </a:lnTo>
                  <a:lnTo>
                    <a:pt x="427851" y="638217"/>
                  </a:lnTo>
                  <a:cubicBezTo>
                    <a:pt x="412761" y="758939"/>
                    <a:pt x="340431" y="736304"/>
                    <a:pt x="220228" y="717051"/>
                  </a:cubicBezTo>
                  <a:lnTo>
                    <a:pt x="204357" y="759460"/>
                  </a:lnTo>
                  <a:cubicBezTo>
                    <a:pt x="90918" y="741247"/>
                    <a:pt x="-12113" y="700920"/>
                    <a:pt x="1156" y="586701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AE09582-B81F-F8BC-E0F8-37A4FEC1D5C6}"/>
                </a:ext>
              </a:extLst>
            </p:cNvPr>
            <p:cNvSpPr/>
            <p:nvPr/>
          </p:nvSpPr>
          <p:spPr>
            <a:xfrm>
              <a:off x="1033432" y="689953"/>
              <a:ext cx="641346" cy="902040"/>
            </a:xfrm>
            <a:custGeom>
              <a:avLst/>
              <a:gdLst>
                <a:gd name="connsiteX0" fmla="*/ 218033 w 641346"/>
                <a:gd name="connsiteY0" fmla="*/ 902040 h 902040"/>
                <a:gd name="connsiteX1" fmla="*/ 54120 w 641346"/>
                <a:gd name="connsiteY1" fmla="*/ 657733 h 902040"/>
                <a:gd name="connsiteX2" fmla="*/ 3 w 641346"/>
                <a:gd name="connsiteY2" fmla="*/ 478730 h 902040"/>
                <a:gd name="connsiteX3" fmla="*/ 523 w 641346"/>
                <a:gd name="connsiteY3" fmla="*/ 349682 h 902040"/>
                <a:gd name="connsiteX4" fmla="*/ 352547 w 641346"/>
                <a:gd name="connsiteY4" fmla="*/ 3 h 902040"/>
                <a:gd name="connsiteX5" fmla="*/ 641346 w 641346"/>
                <a:gd name="connsiteY5" fmla="*/ 783 h 902040"/>
                <a:gd name="connsiteX6" fmla="*/ 639785 w 641346"/>
                <a:gd name="connsiteY6" fmla="*/ 473787 h 902040"/>
                <a:gd name="connsiteX7" fmla="*/ 218033 w 641346"/>
                <a:gd name="connsiteY7" fmla="*/ 902040 h 902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1346" h="902040">
                  <a:moveTo>
                    <a:pt x="218033" y="902040"/>
                  </a:moveTo>
                  <a:lnTo>
                    <a:pt x="54120" y="657733"/>
                  </a:lnTo>
                  <a:cubicBezTo>
                    <a:pt x="18736" y="604657"/>
                    <a:pt x="-258" y="542474"/>
                    <a:pt x="3" y="478730"/>
                  </a:cubicBezTo>
                  <a:lnTo>
                    <a:pt x="523" y="349682"/>
                  </a:lnTo>
                  <a:cubicBezTo>
                    <a:pt x="1043" y="155850"/>
                    <a:pt x="158712" y="-778"/>
                    <a:pt x="352547" y="3"/>
                  </a:cubicBezTo>
                  <a:lnTo>
                    <a:pt x="641346" y="783"/>
                  </a:lnTo>
                  <a:lnTo>
                    <a:pt x="639785" y="473787"/>
                  </a:lnTo>
                  <a:cubicBezTo>
                    <a:pt x="639265" y="650448"/>
                    <a:pt x="394696" y="902560"/>
                    <a:pt x="218033" y="902040"/>
                  </a:cubicBezTo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85E88CD4-F1D6-BB6B-45FA-D8681E9C7EE3}"/>
                </a:ext>
              </a:extLst>
            </p:cNvPr>
            <p:cNvSpPr/>
            <p:nvPr/>
          </p:nvSpPr>
          <p:spPr>
            <a:xfrm>
              <a:off x="1194225" y="1336757"/>
              <a:ext cx="432161" cy="432159"/>
            </a:xfrm>
            <a:custGeom>
              <a:avLst/>
              <a:gdLst>
                <a:gd name="connsiteX0" fmla="*/ 432159 w 432161"/>
                <a:gd name="connsiteY0" fmla="*/ 216730 h 432159"/>
                <a:gd name="connsiteX1" fmla="*/ 215430 w 432161"/>
                <a:gd name="connsiteY1" fmla="*/ 432158 h 432159"/>
                <a:gd name="connsiteX2" fmla="*/ 1 w 432161"/>
                <a:gd name="connsiteY2" fmla="*/ 215429 h 432159"/>
                <a:gd name="connsiteX3" fmla="*/ 216730 w 432161"/>
                <a:gd name="connsiteY3" fmla="*/ 2 h 432159"/>
                <a:gd name="connsiteX4" fmla="*/ 432159 w 432161"/>
                <a:gd name="connsiteY4" fmla="*/ 216730 h 43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161" h="432159">
                  <a:moveTo>
                    <a:pt x="432159" y="216730"/>
                  </a:moveTo>
                  <a:cubicBezTo>
                    <a:pt x="431899" y="336152"/>
                    <a:pt x="334592" y="432678"/>
                    <a:pt x="215430" y="432158"/>
                  </a:cubicBezTo>
                  <a:cubicBezTo>
                    <a:pt x="96007" y="431898"/>
                    <a:pt x="-260" y="334591"/>
                    <a:pt x="1" y="215429"/>
                  </a:cubicBezTo>
                  <a:cubicBezTo>
                    <a:pt x="521" y="96008"/>
                    <a:pt x="97568" y="-518"/>
                    <a:pt x="216730" y="2"/>
                  </a:cubicBezTo>
                  <a:cubicBezTo>
                    <a:pt x="336153" y="262"/>
                    <a:pt x="432680" y="97569"/>
                    <a:pt x="432159" y="216730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D8A9150-D014-EB7F-A73C-D7D63336FD10}"/>
                </a:ext>
              </a:extLst>
            </p:cNvPr>
            <p:cNvSpPr/>
            <p:nvPr/>
          </p:nvSpPr>
          <p:spPr>
            <a:xfrm>
              <a:off x="1193966" y="1367199"/>
              <a:ext cx="114739" cy="197735"/>
            </a:xfrm>
            <a:custGeom>
              <a:avLst/>
              <a:gdLst>
                <a:gd name="connsiteX0" fmla="*/ 781 w 114739"/>
                <a:gd name="connsiteY0" fmla="*/ 0 h 197735"/>
                <a:gd name="connsiteX1" fmla="*/ 0 w 114739"/>
                <a:gd name="connsiteY1" fmla="*/ 197735 h 197735"/>
                <a:gd name="connsiteX2" fmla="*/ 114739 w 114739"/>
                <a:gd name="connsiteY2" fmla="*/ 27579 h 197735"/>
                <a:gd name="connsiteX3" fmla="*/ 781 w 114739"/>
                <a:gd name="connsiteY3" fmla="*/ 0 h 197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739" h="197735">
                  <a:moveTo>
                    <a:pt x="781" y="0"/>
                  </a:moveTo>
                  <a:lnTo>
                    <a:pt x="0" y="197735"/>
                  </a:lnTo>
                  <a:lnTo>
                    <a:pt x="114739" y="27579"/>
                  </a:lnTo>
                  <a:lnTo>
                    <a:pt x="781" y="0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DD670492-32AF-D13A-92FB-BBED76E686AE}"/>
                </a:ext>
              </a:extLst>
            </p:cNvPr>
            <p:cNvSpPr/>
            <p:nvPr/>
          </p:nvSpPr>
          <p:spPr>
            <a:xfrm>
              <a:off x="1425266" y="1607344"/>
              <a:ext cx="192793" cy="162871"/>
            </a:xfrm>
            <a:custGeom>
              <a:avLst/>
              <a:gdLst>
                <a:gd name="connsiteX0" fmla="*/ 192793 w 192793"/>
                <a:gd name="connsiteY0" fmla="*/ 27319 h 162871"/>
                <a:gd name="connsiteX1" fmla="*/ 0 w 192793"/>
                <a:gd name="connsiteY1" fmla="*/ 0 h 162871"/>
                <a:gd name="connsiteX2" fmla="*/ 174841 w 192793"/>
                <a:gd name="connsiteY2" fmla="*/ 162871 h 162871"/>
                <a:gd name="connsiteX3" fmla="*/ 192793 w 192793"/>
                <a:gd name="connsiteY3" fmla="*/ 27319 h 16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793" h="162871">
                  <a:moveTo>
                    <a:pt x="192793" y="27319"/>
                  </a:moveTo>
                  <a:lnTo>
                    <a:pt x="0" y="0"/>
                  </a:lnTo>
                  <a:lnTo>
                    <a:pt x="174841" y="162871"/>
                  </a:lnTo>
                  <a:lnTo>
                    <a:pt x="192793" y="27319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42413BDE-0C4F-CA5D-6F02-260BFB604B72}"/>
                </a:ext>
              </a:extLst>
            </p:cNvPr>
            <p:cNvSpPr/>
            <p:nvPr/>
          </p:nvSpPr>
          <p:spPr>
            <a:xfrm>
              <a:off x="1218419" y="670183"/>
              <a:ext cx="644470" cy="967342"/>
            </a:xfrm>
            <a:custGeom>
              <a:avLst/>
              <a:gdLst>
                <a:gd name="connsiteX0" fmla="*/ 409006 w 644470"/>
                <a:gd name="connsiteY0" fmla="*/ 967082 h 967342"/>
                <a:gd name="connsiteX1" fmla="*/ 318724 w 644470"/>
                <a:gd name="connsiteY1" fmla="*/ 967082 h 967342"/>
                <a:gd name="connsiteX2" fmla="*/ 3 w 644470"/>
                <a:gd name="connsiteY2" fmla="*/ 646022 h 967342"/>
                <a:gd name="connsiteX3" fmla="*/ 1044 w 644470"/>
                <a:gd name="connsiteY3" fmla="*/ 322881 h 967342"/>
                <a:gd name="connsiteX4" fmla="*/ 321846 w 644470"/>
                <a:gd name="connsiteY4" fmla="*/ 52036 h 967342"/>
                <a:gd name="connsiteX5" fmla="*/ 399379 w 644470"/>
                <a:gd name="connsiteY5" fmla="*/ 0 h 967342"/>
                <a:gd name="connsiteX6" fmla="*/ 644469 w 644470"/>
                <a:gd name="connsiteY6" fmla="*/ 238583 h 967342"/>
                <a:gd name="connsiteX7" fmla="*/ 642908 w 644470"/>
                <a:gd name="connsiteY7" fmla="*/ 735003 h 967342"/>
                <a:gd name="connsiteX8" fmla="*/ 409266 w 644470"/>
                <a:gd name="connsiteY8" fmla="*/ 967342 h 96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4470" h="967342">
                  <a:moveTo>
                    <a:pt x="409006" y="967082"/>
                  </a:moveTo>
                  <a:lnTo>
                    <a:pt x="318724" y="967082"/>
                  </a:lnTo>
                  <a:cubicBezTo>
                    <a:pt x="142061" y="966301"/>
                    <a:pt x="-777" y="822683"/>
                    <a:pt x="3" y="646022"/>
                  </a:cubicBezTo>
                  <a:lnTo>
                    <a:pt x="1044" y="322881"/>
                  </a:lnTo>
                  <a:cubicBezTo>
                    <a:pt x="1564" y="146220"/>
                    <a:pt x="145184" y="51515"/>
                    <a:pt x="321846" y="52036"/>
                  </a:cubicBezTo>
                  <a:lnTo>
                    <a:pt x="399379" y="0"/>
                  </a:lnTo>
                  <a:cubicBezTo>
                    <a:pt x="528169" y="260"/>
                    <a:pt x="644989" y="109535"/>
                    <a:pt x="644469" y="238583"/>
                  </a:cubicBezTo>
                  <a:lnTo>
                    <a:pt x="642908" y="735003"/>
                  </a:lnTo>
                  <a:cubicBezTo>
                    <a:pt x="642648" y="863791"/>
                    <a:pt x="537795" y="967602"/>
                    <a:pt x="409266" y="967342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B727E82-8576-1B3B-A8DA-0115B63407DB}"/>
                </a:ext>
              </a:extLst>
            </p:cNvPr>
            <p:cNvSpPr/>
            <p:nvPr/>
          </p:nvSpPr>
          <p:spPr>
            <a:xfrm>
              <a:off x="1031613" y="635057"/>
              <a:ext cx="831797" cy="590345"/>
            </a:xfrm>
            <a:custGeom>
              <a:avLst/>
              <a:gdLst>
                <a:gd name="connsiteX0" fmla="*/ 830755 w 831797"/>
                <a:gd name="connsiteY0" fmla="*/ 590345 h 590345"/>
                <a:gd name="connsiteX1" fmla="*/ 831796 w 831797"/>
                <a:gd name="connsiteY1" fmla="*/ 246130 h 590345"/>
                <a:gd name="connsiteX2" fmla="*/ 587747 w 831797"/>
                <a:gd name="connsiteY2" fmla="*/ 782 h 590345"/>
                <a:gd name="connsiteX3" fmla="*/ 348901 w 831797"/>
                <a:gd name="connsiteY3" fmla="*/ 1 h 590345"/>
                <a:gd name="connsiteX4" fmla="*/ 0 w 831797"/>
                <a:gd name="connsiteY4" fmla="*/ 346558 h 590345"/>
                <a:gd name="connsiteX5" fmla="*/ 2862 w 831797"/>
                <a:gd name="connsiteY5" fmla="*/ 467801 h 590345"/>
                <a:gd name="connsiteX6" fmla="*/ 830495 w 831797"/>
                <a:gd name="connsiteY6" fmla="*/ 590085 h 59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797" h="590345">
                  <a:moveTo>
                    <a:pt x="830755" y="590345"/>
                  </a:moveTo>
                  <a:lnTo>
                    <a:pt x="831796" y="246130"/>
                  </a:lnTo>
                  <a:cubicBezTo>
                    <a:pt x="832316" y="111097"/>
                    <a:pt x="723040" y="1042"/>
                    <a:pt x="587747" y="782"/>
                  </a:cubicBezTo>
                  <a:lnTo>
                    <a:pt x="348901" y="1"/>
                  </a:lnTo>
                  <a:cubicBezTo>
                    <a:pt x="156889" y="-519"/>
                    <a:pt x="781" y="154547"/>
                    <a:pt x="0" y="346558"/>
                  </a:cubicBezTo>
                  <a:lnTo>
                    <a:pt x="2862" y="467801"/>
                  </a:lnTo>
                  <a:lnTo>
                    <a:pt x="830495" y="590085"/>
                  </a:lnTo>
                  <a:close/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76EF78C5-549F-1FC7-B388-DD67CAE11F55}"/>
                </a:ext>
              </a:extLst>
            </p:cNvPr>
            <p:cNvSpPr/>
            <p:nvPr/>
          </p:nvSpPr>
          <p:spPr>
            <a:xfrm>
              <a:off x="1296997" y="868328"/>
              <a:ext cx="565631" cy="355773"/>
            </a:xfrm>
            <a:custGeom>
              <a:avLst/>
              <a:gdLst>
                <a:gd name="connsiteX0" fmla="*/ 260 w 565631"/>
                <a:gd name="connsiteY0" fmla="*/ 278241 h 355773"/>
                <a:gd name="connsiteX1" fmla="*/ 260 w 565631"/>
                <a:gd name="connsiteY1" fmla="*/ 226465 h 355773"/>
                <a:gd name="connsiteX2" fmla="*/ 41889 w 565631"/>
                <a:gd name="connsiteY2" fmla="*/ 157258 h 355773"/>
                <a:gd name="connsiteX3" fmla="*/ 96006 w 565631"/>
                <a:gd name="connsiteY3" fmla="*/ 117971 h 355773"/>
                <a:gd name="connsiteX4" fmla="*/ 84038 w 565631"/>
                <a:gd name="connsiteY4" fmla="*/ 80505 h 355773"/>
                <a:gd name="connsiteX5" fmla="*/ 97047 w 565631"/>
                <a:gd name="connsiteY5" fmla="*/ 27169 h 355773"/>
                <a:gd name="connsiteX6" fmla="*/ 168597 w 565631"/>
                <a:gd name="connsiteY6" fmla="*/ 1151 h 355773"/>
                <a:gd name="connsiteX7" fmla="*/ 295825 w 565631"/>
                <a:gd name="connsiteY7" fmla="*/ 8176 h 355773"/>
                <a:gd name="connsiteX8" fmla="*/ 457657 w 565631"/>
                <a:gd name="connsiteY8" fmla="*/ 110 h 355773"/>
                <a:gd name="connsiteX9" fmla="*/ 487577 w 565631"/>
                <a:gd name="connsiteY9" fmla="*/ 9477 h 355773"/>
                <a:gd name="connsiteX10" fmla="*/ 510994 w 565631"/>
                <a:gd name="connsiteY10" fmla="*/ 87010 h 355773"/>
                <a:gd name="connsiteX11" fmla="*/ 548460 w 565631"/>
                <a:gd name="connsiteY11" fmla="*/ 133061 h 355773"/>
                <a:gd name="connsiteX12" fmla="*/ 565631 w 565631"/>
                <a:gd name="connsiteY12" fmla="*/ 223343 h 355773"/>
                <a:gd name="connsiteX13" fmla="*/ 565111 w 565631"/>
                <a:gd name="connsiteY13" fmla="*/ 355774 h 355773"/>
                <a:gd name="connsiteX14" fmla="*/ 55939 w 565631"/>
                <a:gd name="connsiteY14" fmla="*/ 354213 h 355773"/>
                <a:gd name="connsiteX15" fmla="*/ 0 w 565631"/>
                <a:gd name="connsiteY15" fmla="*/ 278761 h 35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5631" h="355773">
                  <a:moveTo>
                    <a:pt x="260" y="278241"/>
                  </a:moveTo>
                  <a:lnTo>
                    <a:pt x="260" y="226465"/>
                  </a:lnTo>
                  <a:cubicBezTo>
                    <a:pt x="5724" y="210594"/>
                    <a:pt x="17172" y="183276"/>
                    <a:pt x="41889" y="157258"/>
                  </a:cubicBezTo>
                  <a:cubicBezTo>
                    <a:pt x="61663" y="136444"/>
                    <a:pt x="82217" y="124475"/>
                    <a:pt x="96006" y="117971"/>
                  </a:cubicBezTo>
                  <a:lnTo>
                    <a:pt x="84038" y="80505"/>
                  </a:lnTo>
                  <a:cubicBezTo>
                    <a:pt x="78054" y="61773"/>
                    <a:pt x="82997" y="40958"/>
                    <a:pt x="97047" y="27169"/>
                  </a:cubicBezTo>
                  <a:cubicBezTo>
                    <a:pt x="116040" y="8436"/>
                    <a:pt x="142058" y="-1190"/>
                    <a:pt x="168597" y="1151"/>
                  </a:cubicBezTo>
                  <a:cubicBezTo>
                    <a:pt x="205282" y="4013"/>
                    <a:pt x="258879" y="7916"/>
                    <a:pt x="295825" y="8176"/>
                  </a:cubicBezTo>
                  <a:cubicBezTo>
                    <a:pt x="346040" y="8436"/>
                    <a:pt x="423833" y="2712"/>
                    <a:pt x="457657" y="110"/>
                  </a:cubicBezTo>
                  <a:cubicBezTo>
                    <a:pt x="468584" y="-670"/>
                    <a:pt x="479252" y="2712"/>
                    <a:pt x="487577" y="9477"/>
                  </a:cubicBezTo>
                  <a:cubicBezTo>
                    <a:pt x="511774" y="28990"/>
                    <a:pt x="510734" y="56049"/>
                    <a:pt x="510994" y="87010"/>
                  </a:cubicBezTo>
                  <a:cubicBezTo>
                    <a:pt x="518539" y="98978"/>
                    <a:pt x="541435" y="115629"/>
                    <a:pt x="548460" y="133061"/>
                  </a:cubicBezTo>
                  <a:cubicBezTo>
                    <a:pt x="562509" y="168706"/>
                    <a:pt x="565371" y="200968"/>
                    <a:pt x="565631" y="223343"/>
                  </a:cubicBezTo>
                  <a:cubicBezTo>
                    <a:pt x="565631" y="267573"/>
                    <a:pt x="565371" y="311804"/>
                    <a:pt x="565111" y="355774"/>
                  </a:cubicBezTo>
                  <a:lnTo>
                    <a:pt x="55939" y="354213"/>
                  </a:lnTo>
                  <a:lnTo>
                    <a:pt x="0" y="27876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8E5D3989-1ABF-2789-5D8A-B349D9237DD7}"/>
                </a:ext>
              </a:extLst>
            </p:cNvPr>
            <p:cNvSpPr/>
            <p:nvPr/>
          </p:nvSpPr>
          <p:spPr>
            <a:xfrm>
              <a:off x="1105156" y="1133992"/>
              <a:ext cx="220200" cy="248818"/>
            </a:xfrm>
            <a:custGeom>
              <a:avLst/>
              <a:gdLst>
                <a:gd name="connsiteX0" fmla="*/ 121593 w 220200"/>
                <a:gd name="connsiteY0" fmla="*/ 248819 h 248818"/>
                <a:gd name="connsiteX1" fmla="*/ 68256 w 220200"/>
                <a:gd name="connsiteY1" fmla="*/ 224102 h 248818"/>
                <a:gd name="connsiteX2" fmla="*/ 10756 w 220200"/>
                <a:gd name="connsiteY2" fmla="*/ 68255 h 248818"/>
                <a:gd name="connsiteX3" fmla="*/ 166864 w 220200"/>
                <a:gd name="connsiteY3" fmla="*/ 10756 h 248818"/>
                <a:gd name="connsiteX4" fmla="*/ 220201 w 220200"/>
                <a:gd name="connsiteY4" fmla="*/ 35473 h 248818"/>
                <a:gd name="connsiteX5" fmla="*/ 121593 w 220200"/>
                <a:gd name="connsiteY5" fmla="*/ 248819 h 248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200" h="248818">
                  <a:moveTo>
                    <a:pt x="121593" y="248819"/>
                  </a:moveTo>
                  <a:lnTo>
                    <a:pt x="68256" y="224102"/>
                  </a:lnTo>
                  <a:cubicBezTo>
                    <a:pt x="9455" y="196783"/>
                    <a:pt x="-16303" y="127055"/>
                    <a:pt x="10756" y="68255"/>
                  </a:cubicBezTo>
                  <a:cubicBezTo>
                    <a:pt x="38075" y="9455"/>
                    <a:pt x="107803" y="-16303"/>
                    <a:pt x="166864" y="10756"/>
                  </a:cubicBezTo>
                  <a:lnTo>
                    <a:pt x="220201" y="35473"/>
                  </a:lnTo>
                  <a:lnTo>
                    <a:pt x="121593" y="248819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A2FA018D-DB0A-D6FD-6433-A140B54AD8E7}"/>
                </a:ext>
              </a:extLst>
            </p:cNvPr>
            <p:cNvSpPr/>
            <p:nvPr/>
          </p:nvSpPr>
          <p:spPr>
            <a:xfrm rot="16211400">
              <a:off x="1129577" y="1045712"/>
              <a:ext cx="256537" cy="78313"/>
            </a:xfrm>
            <a:custGeom>
              <a:avLst/>
              <a:gdLst>
                <a:gd name="connsiteX0" fmla="*/ 0 w 256537"/>
                <a:gd name="connsiteY0" fmla="*/ 0 h 78313"/>
                <a:gd name="connsiteX1" fmla="*/ 256538 w 256537"/>
                <a:gd name="connsiteY1" fmla="*/ 0 h 78313"/>
                <a:gd name="connsiteX2" fmla="*/ 256538 w 256537"/>
                <a:gd name="connsiteY2" fmla="*/ 78314 h 78313"/>
                <a:gd name="connsiteX3" fmla="*/ 0 w 256537"/>
                <a:gd name="connsiteY3" fmla="*/ 78314 h 7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37" h="78313">
                  <a:moveTo>
                    <a:pt x="0" y="0"/>
                  </a:moveTo>
                  <a:lnTo>
                    <a:pt x="256538" y="0"/>
                  </a:lnTo>
                  <a:lnTo>
                    <a:pt x="256538" y="78314"/>
                  </a:lnTo>
                  <a:lnTo>
                    <a:pt x="0" y="78314"/>
                  </a:lnTo>
                  <a:close/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F697509-EC92-403E-5504-326A09F64579}"/>
                </a:ext>
              </a:extLst>
            </p:cNvPr>
            <p:cNvSpPr/>
            <p:nvPr/>
          </p:nvSpPr>
          <p:spPr>
            <a:xfrm>
              <a:off x="1124758" y="1807681"/>
              <a:ext cx="218030" cy="294261"/>
            </a:xfrm>
            <a:custGeom>
              <a:avLst/>
              <a:gdLst>
                <a:gd name="connsiteX0" fmla="*/ 9887 w 218030"/>
                <a:gd name="connsiteY0" fmla="*/ 0 h 294261"/>
                <a:gd name="connsiteX1" fmla="*/ 218031 w 218030"/>
                <a:gd name="connsiteY1" fmla="*/ 207622 h 294261"/>
                <a:gd name="connsiteX2" fmla="*/ 100430 w 218030"/>
                <a:gd name="connsiteY2" fmla="*/ 294261 h 294261"/>
                <a:gd name="connsiteX3" fmla="*/ 0 w 218030"/>
                <a:gd name="connsiteY3" fmla="*/ 173539 h 294261"/>
                <a:gd name="connsiteX4" fmla="*/ 9887 w 218030"/>
                <a:gd name="connsiteY4" fmla="*/ 0 h 29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030" h="294261">
                  <a:moveTo>
                    <a:pt x="9887" y="0"/>
                  </a:moveTo>
                  <a:lnTo>
                    <a:pt x="218031" y="207622"/>
                  </a:lnTo>
                  <a:lnTo>
                    <a:pt x="100430" y="294261"/>
                  </a:lnTo>
                  <a:lnTo>
                    <a:pt x="0" y="173539"/>
                  </a:lnTo>
                  <a:lnTo>
                    <a:pt x="9887" y="0"/>
                  </a:lnTo>
                  <a:close/>
                </a:path>
              </a:pathLst>
            </a:custGeom>
            <a:solidFill>
              <a:srgbClr val="FFFBF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83BBC9C2-937B-AF8A-3CFA-4D45B2491651}"/>
                </a:ext>
              </a:extLst>
            </p:cNvPr>
            <p:cNvSpPr/>
            <p:nvPr/>
          </p:nvSpPr>
          <p:spPr>
            <a:xfrm>
              <a:off x="1408614" y="1807681"/>
              <a:ext cx="218030" cy="294261"/>
            </a:xfrm>
            <a:custGeom>
              <a:avLst/>
              <a:gdLst>
                <a:gd name="connsiteX0" fmla="*/ 208144 w 218030"/>
                <a:gd name="connsiteY0" fmla="*/ 0 h 294261"/>
                <a:gd name="connsiteX1" fmla="*/ 0 w 218030"/>
                <a:gd name="connsiteY1" fmla="*/ 207622 h 294261"/>
                <a:gd name="connsiteX2" fmla="*/ 117601 w 218030"/>
                <a:gd name="connsiteY2" fmla="*/ 294261 h 294261"/>
                <a:gd name="connsiteX3" fmla="*/ 218031 w 218030"/>
                <a:gd name="connsiteY3" fmla="*/ 173539 h 294261"/>
                <a:gd name="connsiteX4" fmla="*/ 208144 w 218030"/>
                <a:gd name="connsiteY4" fmla="*/ 0 h 29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030" h="294261">
                  <a:moveTo>
                    <a:pt x="208144" y="0"/>
                  </a:moveTo>
                  <a:lnTo>
                    <a:pt x="0" y="207622"/>
                  </a:lnTo>
                  <a:lnTo>
                    <a:pt x="117601" y="294261"/>
                  </a:lnTo>
                  <a:lnTo>
                    <a:pt x="218031" y="173539"/>
                  </a:lnTo>
                  <a:lnTo>
                    <a:pt x="208144" y="0"/>
                  </a:lnTo>
                  <a:close/>
                </a:path>
              </a:pathLst>
            </a:custGeom>
            <a:solidFill>
              <a:srgbClr val="FFFBF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7EEF450-1D1F-4A1C-2FB8-DA10D0C10AFD}"/>
                </a:ext>
              </a:extLst>
            </p:cNvPr>
            <p:cNvSpPr/>
            <p:nvPr/>
          </p:nvSpPr>
          <p:spPr>
            <a:xfrm>
              <a:off x="1215300" y="2179735"/>
              <a:ext cx="160270" cy="1851946"/>
            </a:xfrm>
            <a:custGeom>
              <a:avLst/>
              <a:gdLst>
                <a:gd name="connsiteX0" fmla="*/ 160271 w 160270"/>
                <a:gd name="connsiteY0" fmla="*/ 0 h 1851946"/>
                <a:gd name="connsiteX1" fmla="*/ 160271 w 160270"/>
                <a:gd name="connsiteY1" fmla="*/ 1851947 h 1851946"/>
                <a:gd name="connsiteX2" fmla="*/ 0 w 160270"/>
                <a:gd name="connsiteY2" fmla="*/ 1685173 h 1851946"/>
                <a:gd name="connsiteX3" fmla="*/ 53857 w 160270"/>
                <a:gd name="connsiteY3" fmla="*/ 166774 h 1851946"/>
                <a:gd name="connsiteX4" fmla="*/ 116040 w 160270"/>
                <a:gd name="connsiteY4" fmla="*/ 0 h 1851946"/>
                <a:gd name="connsiteX5" fmla="*/ 160271 w 160270"/>
                <a:gd name="connsiteY5" fmla="*/ 0 h 1851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70" h="1851946">
                  <a:moveTo>
                    <a:pt x="160271" y="0"/>
                  </a:moveTo>
                  <a:lnTo>
                    <a:pt x="160271" y="1851947"/>
                  </a:lnTo>
                  <a:lnTo>
                    <a:pt x="0" y="1685173"/>
                  </a:lnTo>
                  <a:lnTo>
                    <a:pt x="53857" y="166774"/>
                  </a:lnTo>
                  <a:lnTo>
                    <a:pt x="116040" y="0"/>
                  </a:lnTo>
                  <a:lnTo>
                    <a:pt x="160271" y="0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A458CCC8-491A-1582-86F7-C4415FA7DB89}"/>
                </a:ext>
              </a:extLst>
            </p:cNvPr>
            <p:cNvSpPr/>
            <p:nvPr/>
          </p:nvSpPr>
          <p:spPr>
            <a:xfrm>
              <a:off x="1254588" y="2015303"/>
              <a:ext cx="120983" cy="164432"/>
            </a:xfrm>
            <a:custGeom>
              <a:avLst/>
              <a:gdLst>
                <a:gd name="connsiteX0" fmla="*/ 120984 w 120983"/>
                <a:gd name="connsiteY0" fmla="*/ 5984 h 164432"/>
                <a:gd name="connsiteX1" fmla="*/ 120984 w 120983"/>
                <a:gd name="connsiteY1" fmla="*/ 164432 h 164432"/>
                <a:gd name="connsiteX2" fmla="*/ 76753 w 120983"/>
                <a:gd name="connsiteY2" fmla="*/ 164432 h 164432"/>
                <a:gd name="connsiteX3" fmla="*/ 0 w 120983"/>
                <a:gd name="connsiteY3" fmla="*/ 65044 h 164432"/>
                <a:gd name="connsiteX4" fmla="*/ 88201 w 120983"/>
                <a:gd name="connsiteY4" fmla="*/ 0 h 164432"/>
                <a:gd name="connsiteX5" fmla="*/ 120984 w 120983"/>
                <a:gd name="connsiteY5" fmla="*/ 5984 h 16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983" h="164432">
                  <a:moveTo>
                    <a:pt x="120984" y="5984"/>
                  </a:moveTo>
                  <a:lnTo>
                    <a:pt x="120984" y="164432"/>
                  </a:lnTo>
                  <a:lnTo>
                    <a:pt x="76753" y="164432"/>
                  </a:lnTo>
                  <a:lnTo>
                    <a:pt x="0" y="65044"/>
                  </a:lnTo>
                  <a:lnTo>
                    <a:pt x="88201" y="0"/>
                  </a:lnTo>
                  <a:lnTo>
                    <a:pt x="120984" y="5984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4F9CADE3-9339-46E5-B560-92A125EAFA8A}"/>
                </a:ext>
              </a:extLst>
            </p:cNvPr>
            <p:cNvSpPr/>
            <p:nvPr/>
          </p:nvSpPr>
          <p:spPr>
            <a:xfrm>
              <a:off x="1375571" y="2179735"/>
              <a:ext cx="160531" cy="1851946"/>
            </a:xfrm>
            <a:custGeom>
              <a:avLst/>
              <a:gdLst>
                <a:gd name="connsiteX0" fmla="*/ 0 w 160531"/>
                <a:gd name="connsiteY0" fmla="*/ 0 h 1851946"/>
                <a:gd name="connsiteX1" fmla="*/ 0 w 160531"/>
                <a:gd name="connsiteY1" fmla="*/ 1851947 h 1851946"/>
                <a:gd name="connsiteX2" fmla="*/ 160531 w 160531"/>
                <a:gd name="connsiteY2" fmla="*/ 1685173 h 1851946"/>
                <a:gd name="connsiteX3" fmla="*/ 106674 w 160531"/>
                <a:gd name="connsiteY3" fmla="*/ 166774 h 1851946"/>
                <a:gd name="connsiteX4" fmla="*/ 44491 w 160531"/>
                <a:gd name="connsiteY4" fmla="*/ 0 h 1851946"/>
                <a:gd name="connsiteX5" fmla="*/ 0 w 160531"/>
                <a:gd name="connsiteY5" fmla="*/ 0 h 1851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531" h="1851946">
                  <a:moveTo>
                    <a:pt x="0" y="0"/>
                  </a:moveTo>
                  <a:lnTo>
                    <a:pt x="0" y="1851947"/>
                  </a:lnTo>
                  <a:lnTo>
                    <a:pt x="160531" y="1685173"/>
                  </a:lnTo>
                  <a:lnTo>
                    <a:pt x="106674" y="166774"/>
                  </a:lnTo>
                  <a:lnTo>
                    <a:pt x="444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CFB10E80-7259-1EEB-C2D3-ADBA5BB4E302}"/>
                </a:ext>
              </a:extLst>
            </p:cNvPr>
            <p:cNvSpPr/>
            <p:nvPr/>
          </p:nvSpPr>
          <p:spPr>
            <a:xfrm>
              <a:off x="1375571" y="2015303"/>
              <a:ext cx="120983" cy="164432"/>
            </a:xfrm>
            <a:custGeom>
              <a:avLst/>
              <a:gdLst>
                <a:gd name="connsiteX0" fmla="*/ 0 w 120983"/>
                <a:gd name="connsiteY0" fmla="*/ 5984 h 164432"/>
                <a:gd name="connsiteX1" fmla="*/ 0 w 120983"/>
                <a:gd name="connsiteY1" fmla="*/ 164432 h 164432"/>
                <a:gd name="connsiteX2" fmla="*/ 44491 w 120983"/>
                <a:gd name="connsiteY2" fmla="*/ 164432 h 164432"/>
                <a:gd name="connsiteX3" fmla="*/ 120984 w 120983"/>
                <a:gd name="connsiteY3" fmla="*/ 65044 h 164432"/>
                <a:gd name="connsiteX4" fmla="*/ 33043 w 120983"/>
                <a:gd name="connsiteY4" fmla="*/ 0 h 164432"/>
                <a:gd name="connsiteX5" fmla="*/ 0 w 120983"/>
                <a:gd name="connsiteY5" fmla="*/ 5984 h 16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983" h="164432">
                  <a:moveTo>
                    <a:pt x="0" y="5984"/>
                  </a:moveTo>
                  <a:lnTo>
                    <a:pt x="0" y="164432"/>
                  </a:lnTo>
                  <a:lnTo>
                    <a:pt x="44491" y="164432"/>
                  </a:lnTo>
                  <a:lnTo>
                    <a:pt x="120984" y="65044"/>
                  </a:lnTo>
                  <a:lnTo>
                    <a:pt x="33043" y="0"/>
                  </a:lnTo>
                  <a:lnTo>
                    <a:pt x="0" y="5984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6E188608-D3E2-670E-328D-25547EC946CF}"/>
                </a:ext>
              </a:extLst>
            </p:cNvPr>
            <p:cNvSpPr/>
            <p:nvPr/>
          </p:nvSpPr>
          <p:spPr>
            <a:xfrm>
              <a:off x="1287630" y="2179735"/>
              <a:ext cx="123845" cy="120202"/>
            </a:xfrm>
            <a:custGeom>
              <a:avLst/>
              <a:gdLst>
                <a:gd name="connsiteX0" fmla="*/ 44751 w 123845"/>
                <a:gd name="connsiteY0" fmla="*/ 0 h 120202"/>
                <a:gd name="connsiteX1" fmla="*/ 123846 w 123845"/>
                <a:gd name="connsiteY1" fmla="*/ 0 h 120202"/>
                <a:gd name="connsiteX2" fmla="*/ 0 w 123845"/>
                <a:gd name="connsiteY2" fmla="*/ 120202 h 120202"/>
                <a:gd name="connsiteX3" fmla="*/ 44751 w 123845"/>
                <a:gd name="connsiteY3" fmla="*/ 0 h 12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45" h="120202">
                  <a:moveTo>
                    <a:pt x="44751" y="0"/>
                  </a:moveTo>
                  <a:lnTo>
                    <a:pt x="123846" y="0"/>
                  </a:lnTo>
                  <a:lnTo>
                    <a:pt x="0" y="120202"/>
                  </a:lnTo>
                  <a:lnTo>
                    <a:pt x="44751" y="0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8A175B1-281F-2C70-35CB-7A9B243E41F7}"/>
                </a:ext>
              </a:extLst>
            </p:cNvPr>
            <p:cNvSpPr/>
            <p:nvPr/>
          </p:nvSpPr>
          <p:spPr>
            <a:xfrm>
              <a:off x="367670" y="1806416"/>
              <a:ext cx="569722" cy="569718"/>
            </a:xfrm>
            <a:custGeom>
              <a:avLst/>
              <a:gdLst>
                <a:gd name="connsiteX0" fmla="*/ 470890 w 569722"/>
                <a:gd name="connsiteY0" fmla="*/ 500547 h 569718"/>
                <a:gd name="connsiteX1" fmla="*/ 69172 w 569722"/>
                <a:gd name="connsiteY1" fmla="*/ 470887 h 569718"/>
                <a:gd name="connsiteX2" fmla="*/ 98833 w 569722"/>
                <a:gd name="connsiteY2" fmla="*/ 69172 h 569718"/>
                <a:gd name="connsiteX3" fmla="*/ 500551 w 569722"/>
                <a:gd name="connsiteY3" fmla="*/ 98832 h 569718"/>
                <a:gd name="connsiteX4" fmla="*/ 470890 w 569722"/>
                <a:gd name="connsiteY4" fmla="*/ 500547 h 56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9722" h="569718">
                  <a:moveTo>
                    <a:pt x="470890" y="500547"/>
                  </a:moveTo>
                  <a:cubicBezTo>
                    <a:pt x="351728" y="603317"/>
                    <a:pt x="171943" y="590048"/>
                    <a:pt x="69172" y="470887"/>
                  </a:cubicBezTo>
                  <a:cubicBezTo>
                    <a:pt x="-33599" y="351725"/>
                    <a:pt x="-20330" y="171942"/>
                    <a:pt x="98833" y="69172"/>
                  </a:cubicBezTo>
                  <a:cubicBezTo>
                    <a:pt x="217995" y="-33599"/>
                    <a:pt x="397780" y="-20330"/>
                    <a:pt x="500551" y="98832"/>
                  </a:cubicBezTo>
                  <a:cubicBezTo>
                    <a:pt x="603322" y="217993"/>
                    <a:pt x="590053" y="397776"/>
                    <a:pt x="470890" y="500547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4FF6F361-CB3E-8F7E-E40C-28ABC6DCCC78}"/>
                </a:ext>
              </a:extLst>
            </p:cNvPr>
            <p:cNvSpPr/>
            <p:nvPr/>
          </p:nvSpPr>
          <p:spPr>
            <a:xfrm>
              <a:off x="21594" y="1906288"/>
              <a:ext cx="913491" cy="1091446"/>
            </a:xfrm>
            <a:custGeom>
              <a:avLst/>
              <a:gdLst>
                <a:gd name="connsiteX0" fmla="*/ 435281 w 913491"/>
                <a:gd name="connsiteY0" fmla="*/ 1091447 h 1091446"/>
                <a:gd name="connsiteX1" fmla="*/ 0 w 913491"/>
                <a:gd name="connsiteY1" fmla="*/ 1013653 h 1091446"/>
                <a:gd name="connsiteX2" fmla="*/ 408743 w 913491"/>
                <a:gd name="connsiteY2" fmla="*/ 0 h 1091446"/>
                <a:gd name="connsiteX3" fmla="*/ 913492 w 913491"/>
                <a:gd name="connsiteY3" fmla="*/ 264081 h 1091446"/>
                <a:gd name="connsiteX4" fmla="*/ 435281 w 913491"/>
                <a:gd name="connsiteY4" fmla="*/ 1091447 h 1091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3491" h="1091446">
                  <a:moveTo>
                    <a:pt x="435281" y="1091447"/>
                  </a:moveTo>
                  <a:lnTo>
                    <a:pt x="0" y="1013653"/>
                  </a:lnTo>
                  <a:lnTo>
                    <a:pt x="408743" y="0"/>
                  </a:lnTo>
                  <a:lnTo>
                    <a:pt x="913492" y="264081"/>
                  </a:lnTo>
                  <a:lnTo>
                    <a:pt x="435281" y="1091447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D894BE6F-995A-3832-51C4-271A852B1006}"/>
                </a:ext>
              </a:extLst>
            </p:cNvPr>
            <p:cNvSpPr/>
            <p:nvPr/>
          </p:nvSpPr>
          <p:spPr>
            <a:xfrm>
              <a:off x="531547" y="3203275"/>
              <a:ext cx="413426" cy="775070"/>
            </a:xfrm>
            <a:custGeom>
              <a:avLst/>
              <a:gdLst>
                <a:gd name="connsiteX0" fmla="*/ 413426 w 413426"/>
                <a:gd name="connsiteY0" fmla="*/ 775070 h 775070"/>
                <a:gd name="connsiteX1" fmla="*/ 0 w 413426"/>
                <a:gd name="connsiteY1" fmla="*/ 718351 h 775070"/>
                <a:gd name="connsiteX2" fmla="*/ 50995 w 413426"/>
                <a:gd name="connsiteY2" fmla="*/ 0 h 775070"/>
                <a:gd name="connsiteX3" fmla="*/ 360610 w 413426"/>
                <a:gd name="connsiteY3" fmla="*/ 235981 h 775070"/>
                <a:gd name="connsiteX4" fmla="*/ 413426 w 413426"/>
                <a:gd name="connsiteY4" fmla="*/ 775070 h 77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426" h="775070">
                  <a:moveTo>
                    <a:pt x="413426" y="775070"/>
                  </a:moveTo>
                  <a:lnTo>
                    <a:pt x="0" y="718351"/>
                  </a:lnTo>
                  <a:lnTo>
                    <a:pt x="50995" y="0"/>
                  </a:lnTo>
                  <a:lnTo>
                    <a:pt x="360610" y="235981"/>
                  </a:lnTo>
                  <a:lnTo>
                    <a:pt x="413426" y="775070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ED0F121-CF22-B24C-AFF8-E6094610C731}"/>
                </a:ext>
              </a:extLst>
            </p:cNvPr>
            <p:cNvSpPr/>
            <p:nvPr/>
          </p:nvSpPr>
          <p:spPr>
            <a:xfrm>
              <a:off x="853650" y="1807681"/>
              <a:ext cx="280474" cy="1735126"/>
            </a:xfrm>
            <a:custGeom>
              <a:avLst/>
              <a:gdLst>
                <a:gd name="connsiteX0" fmla="*/ 123846 w 280474"/>
                <a:gd name="connsiteY0" fmla="*/ 0 h 1735126"/>
                <a:gd name="connsiteX1" fmla="*/ 19253 w 280474"/>
                <a:gd name="connsiteY1" fmla="*/ 187849 h 1735126"/>
                <a:gd name="connsiteX2" fmla="*/ 80135 w 280474"/>
                <a:gd name="connsiteY2" fmla="*/ 283074 h 1735126"/>
                <a:gd name="connsiteX3" fmla="*/ 0 w 280474"/>
                <a:gd name="connsiteY3" fmla="*/ 364249 h 1735126"/>
                <a:gd name="connsiteX4" fmla="*/ 88721 w 280474"/>
                <a:gd name="connsiteY4" fmla="*/ 1318842 h 1735126"/>
                <a:gd name="connsiteX5" fmla="*/ 181345 w 280474"/>
                <a:gd name="connsiteY5" fmla="*/ 1735127 h 1735126"/>
                <a:gd name="connsiteX6" fmla="*/ 280474 w 280474"/>
                <a:gd name="connsiteY6" fmla="*/ 260 h 1735126"/>
                <a:gd name="connsiteX7" fmla="*/ 123586 w 280474"/>
                <a:gd name="connsiteY7" fmla="*/ 260 h 173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474" h="1735126">
                  <a:moveTo>
                    <a:pt x="123846" y="0"/>
                  </a:moveTo>
                  <a:lnTo>
                    <a:pt x="19253" y="187849"/>
                  </a:lnTo>
                  <a:lnTo>
                    <a:pt x="80135" y="283074"/>
                  </a:lnTo>
                  <a:lnTo>
                    <a:pt x="0" y="364249"/>
                  </a:lnTo>
                  <a:cubicBezTo>
                    <a:pt x="0" y="364249"/>
                    <a:pt x="51516" y="1082080"/>
                    <a:pt x="88721" y="1318842"/>
                  </a:cubicBezTo>
                  <a:cubicBezTo>
                    <a:pt x="105373" y="1424214"/>
                    <a:pt x="181345" y="1735127"/>
                    <a:pt x="181345" y="1735127"/>
                  </a:cubicBezTo>
                  <a:lnTo>
                    <a:pt x="280474" y="260"/>
                  </a:lnTo>
                  <a:lnTo>
                    <a:pt x="123586" y="260"/>
                  </a:lnTo>
                  <a:close/>
                </a:path>
              </a:pathLst>
            </a:custGeom>
            <a:solidFill>
              <a:srgbClr val="1A1B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7CA299A0-8C57-E6F7-DF5A-B6255410BB50}"/>
                </a:ext>
              </a:extLst>
            </p:cNvPr>
            <p:cNvSpPr/>
            <p:nvPr/>
          </p:nvSpPr>
          <p:spPr>
            <a:xfrm>
              <a:off x="1464553" y="3036761"/>
              <a:ext cx="691558" cy="195088"/>
            </a:xfrm>
            <a:custGeom>
              <a:avLst/>
              <a:gdLst>
                <a:gd name="connsiteX0" fmla="*/ 395214 w 691558"/>
                <a:gd name="connsiteY0" fmla="*/ 0 h 195088"/>
                <a:gd name="connsiteX1" fmla="*/ 296345 w 691558"/>
                <a:gd name="connsiteY1" fmla="*/ 0 h 195088"/>
                <a:gd name="connsiteX2" fmla="*/ 181345 w 691558"/>
                <a:gd name="connsiteY2" fmla="*/ 32002 h 195088"/>
                <a:gd name="connsiteX3" fmla="*/ 0 w 691558"/>
                <a:gd name="connsiteY3" fmla="*/ 141537 h 195088"/>
                <a:gd name="connsiteX4" fmla="*/ 152726 w 691558"/>
                <a:gd name="connsiteY4" fmla="*/ 179003 h 195088"/>
                <a:gd name="connsiteX5" fmla="*/ 345779 w 691558"/>
                <a:gd name="connsiteY5" fmla="*/ 62183 h 195088"/>
                <a:gd name="connsiteX6" fmla="*/ 538833 w 691558"/>
                <a:gd name="connsiteY6" fmla="*/ 179003 h 195088"/>
                <a:gd name="connsiteX7" fmla="*/ 691559 w 691558"/>
                <a:gd name="connsiteY7" fmla="*/ 141537 h 195088"/>
                <a:gd name="connsiteX8" fmla="*/ 510213 w 691558"/>
                <a:gd name="connsiteY8" fmla="*/ 32002 h 195088"/>
                <a:gd name="connsiteX9" fmla="*/ 395214 w 691558"/>
                <a:gd name="connsiteY9" fmla="*/ 0 h 19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558" h="195088">
                  <a:moveTo>
                    <a:pt x="395214" y="0"/>
                  </a:moveTo>
                  <a:lnTo>
                    <a:pt x="296345" y="0"/>
                  </a:lnTo>
                  <a:cubicBezTo>
                    <a:pt x="255757" y="0"/>
                    <a:pt x="216210" y="11188"/>
                    <a:pt x="181345" y="32002"/>
                  </a:cubicBezTo>
                  <a:lnTo>
                    <a:pt x="0" y="141537"/>
                  </a:lnTo>
                  <a:cubicBezTo>
                    <a:pt x="31742" y="194093"/>
                    <a:pt x="100169" y="210744"/>
                    <a:pt x="152726" y="179003"/>
                  </a:cubicBezTo>
                  <a:lnTo>
                    <a:pt x="345779" y="62183"/>
                  </a:lnTo>
                  <a:lnTo>
                    <a:pt x="538833" y="179003"/>
                  </a:lnTo>
                  <a:cubicBezTo>
                    <a:pt x="591389" y="210744"/>
                    <a:pt x="659556" y="194093"/>
                    <a:pt x="691559" y="141537"/>
                  </a:cubicBezTo>
                  <a:lnTo>
                    <a:pt x="510213" y="32002"/>
                  </a:lnTo>
                  <a:cubicBezTo>
                    <a:pt x="475609" y="11188"/>
                    <a:pt x="435802" y="0"/>
                    <a:pt x="395214" y="0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A2BD55E6-3C5D-27B8-8823-6B828C3A29E0}"/>
                </a:ext>
              </a:extLst>
            </p:cNvPr>
            <p:cNvSpPr/>
            <p:nvPr/>
          </p:nvSpPr>
          <p:spPr>
            <a:xfrm>
              <a:off x="1868612" y="3134328"/>
              <a:ext cx="363471" cy="211784"/>
            </a:xfrm>
            <a:custGeom>
              <a:avLst/>
              <a:gdLst>
                <a:gd name="connsiteX0" fmla="*/ 0 w 363471"/>
                <a:gd name="connsiteY0" fmla="*/ 0 h 211784"/>
                <a:gd name="connsiteX1" fmla="*/ 363472 w 363471"/>
                <a:gd name="connsiteY1" fmla="*/ 0 h 211784"/>
                <a:gd name="connsiteX2" fmla="*/ 363472 w 363471"/>
                <a:gd name="connsiteY2" fmla="*/ 211785 h 211784"/>
                <a:gd name="connsiteX3" fmla="*/ 0 w 363471"/>
                <a:gd name="connsiteY3" fmla="*/ 211785 h 21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471" h="211784">
                  <a:moveTo>
                    <a:pt x="0" y="0"/>
                  </a:moveTo>
                  <a:lnTo>
                    <a:pt x="363472" y="0"/>
                  </a:lnTo>
                  <a:lnTo>
                    <a:pt x="363472" y="211785"/>
                  </a:lnTo>
                  <a:lnTo>
                    <a:pt x="0" y="211785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F5A97F2E-7205-D527-F923-6E1A1652B399}"/>
                </a:ext>
              </a:extLst>
            </p:cNvPr>
            <p:cNvSpPr/>
            <p:nvPr/>
          </p:nvSpPr>
          <p:spPr>
            <a:xfrm>
              <a:off x="2011972" y="3078910"/>
              <a:ext cx="111096" cy="111095"/>
            </a:xfrm>
            <a:custGeom>
              <a:avLst/>
              <a:gdLst>
                <a:gd name="connsiteX0" fmla="*/ 111097 w 111096"/>
                <a:gd name="connsiteY0" fmla="*/ 111096 h 111095"/>
                <a:gd name="connsiteX1" fmla="*/ 0 w 111096"/>
                <a:gd name="connsiteY1" fmla="*/ 111096 h 111095"/>
                <a:gd name="connsiteX2" fmla="*/ 0 w 111096"/>
                <a:gd name="connsiteY2" fmla="*/ 0 h 111095"/>
                <a:gd name="connsiteX3" fmla="*/ 111097 w 111096"/>
                <a:gd name="connsiteY3" fmla="*/ 13529 h 111095"/>
                <a:gd name="connsiteX4" fmla="*/ 111097 w 111096"/>
                <a:gd name="connsiteY4" fmla="*/ 111096 h 1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096" h="111095">
                  <a:moveTo>
                    <a:pt x="111097" y="111096"/>
                  </a:moveTo>
                  <a:lnTo>
                    <a:pt x="0" y="111096"/>
                  </a:lnTo>
                  <a:lnTo>
                    <a:pt x="0" y="0"/>
                  </a:lnTo>
                  <a:lnTo>
                    <a:pt x="111097" y="13529"/>
                  </a:lnTo>
                  <a:lnTo>
                    <a:pt x="111097" y="111096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AD7EA8D-4E36-0365-0BB3-73C24CA75217}"/>
                </a:ext>
              </a:extLst>
            </p:cNvPr>
            <p:cNvSpPr/>
            <p:nvPr/>
          </p:nvSpPr>
          <p:spPr>
            <a:xfrm rot="20571001">
              <a:off x="2159785" y="3148240"/>
              <a:ext cx="513074" cy="333548"/>
            </a:xfrm>
            <a:custGeom>
              <a:avLst/>
              <a:gdLst>
                <a:gd name="connsiteX0" fmla="*/ 0 w 513074"/>
                <a:gd name="connsiteY0" fmla="*/ 0 h 333548"/>
                <a:gd name="connsiteX1" fmla="*/ 513075 w 513074"/>
                <a:gd name="connsiteY1" fmla="*/ 0 h 333548"/>
                <a:gd name="connsiteX2" fmla="*/ 513075 w 513074"/>
                <a:gd name="connsiteY2" fmla="*/ 333548 h 333548"/>
                <a:gd name="connsiteX3" fmla="*/ 0 w 513074"/>
                <a:gd name="connsiteY3" fmla="*/ 333548 h 33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074" h="333548">
                  <a:moveTo>
                    <a:pt x="0" y="0"/>
                  </a:moveTo>
                  <a:lnTo>
                    <a:pt x="513075" y="0"/>
                  </a:lnTo>
                  <a:lnTo>
                    <a:pt x="513075" y="333548"/>
                  </a:lnTo>
                  <a:lnTo>
                    <a:pt x="0" y="333548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7777B8B-B814-A119-97FE-1878403EB2C9}"/>
                </a:ext>
              </a:extLst>
            </p:cNvPr>
            <p:cNvSpPr/>
            <p:nvPr/>
          </p:nvSpPr>
          <p:spPr>
            <a:xfrm>
              <a:off x="1542855" y="3304212"/>
              <a:ext cx="238669" cy="293244"/>
            </a:xfrm>
            <a:custGeom>
              <a:avLst/>
              <a:gdLst>
                <a:gd name="connsiteX0" fmla="*/ 23688 w 238669"/>
                <a:gd name="connsiteY0" fmla="*/ 283086 h 293244"/>
                <a:gd name="connsiteX1" fmla="*/ 23688 w 238669"/>
                <a:gd name="connsiteY1" fmla="*/ 283086 h 293244"/>
                <a:gd name="connsiteX2" fmla="*/ 10159 w 238669"/>
                <a:gd name="connsiteY2" fmla="*/ 205813 h 293244"/>
                <a:gd name="connsiteX3" fmla="*/ 137647 w 238669"/>
                <a:gd name="connsiteY3" fmla="*/ 23688 h 293244"/>
                <a:gd name="connsiteX4" fmla="*/ 214921 w 238669"/>
                <a:gd name="connsiteY4" fmla="*/ 10159 h 293244"/>
                <a:gd name="connsiteX5" fmla="*/ 228710 w 238669"/>
                <a:gd name="connsiteY5" fmla="*/ 87432 h 293244"/>
                <a:gd name="connsiteX6" fmla="*/ 101222 w 238669"/>
                <a:gd name="connsiteY6" fmla="*/ 269556 h 293244"/>
                <a:gd name="connsiteX7" fmla="*/ 23949 w 238669"/>
                <a:gd name="connsiteY7" fmla="*/ 283086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244">
                  <a:moveTo>
                    <a:pt x="23688" y="283086"/>
                  </a:moveTo>
                  <a:lnTo>
                    <a:pt x="23688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40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432"/>
                  </a:cubicBezTo>
                  <a:lnTo>
                    <a:pt x="101222" y="269556"/>
                  </a:lnTo>
                  <a:cubicBezTo>
                    <a:pt x="83530" y="294794"/>
                    <a:pt x="48926" y="300778"/>
                    <a:pt x="23949" y="28308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5FD678F-9CBC-969B-EC49-7139CEF32B1A}"/>
                </a:ext>
              </a:extLst>
            </p:cNvPr>
            <p:cNvSpPr/>
            <p:nvPr/>
          </p:nvSpPr>
          <p:spPr>
            <a:xfrm>
              <a:off x="1500718" y="3051331"/>
              <a:ext cx="915449" cy="762708"/>
            </a:xfrm>
            <a:custGeom>
              <a:avLst/>
              <a:gdLst>
                <a:gd name="connsiteX0" fmla="*/ 884872 w 915449"/>
                <a:gd name="connsiteY0" fmla="*/ 419667 h 762708"/>
                <a:gd name="connsiteX1" fmla="*/ 885132 w 915449"/>
                <a:gd name="connsiteY1" fmla="*/ 419667 h 762708"/>
                <a:gd name="connsiteX2" fmla="*/ 294004 w 915449"/>
                <a:gd name="connsiteY2" fmla="*/ 0 h 762708"/>
                <a:gd name="connsiteX3" fmla="*/ 0 w 915449"/>
                <a:gd name="connsiteY3" fmla="*/ 422529 h 762708"/>
                <a:gd name="connsiteX4" fmla="*/ 462860 w 915449"/>
                <a:gd name="connsiteY4" fmla="*/ 749573 h 762708"/>
                <a:gd name="connsiteX5" fmla="*/ 501627 w 915449"/>
                <a:gd name="connsiteY5" fmla="*/ 762582 h 762708"/>
                <a:gd name="connsiteX6" fmla="*/ 546118 w 915449"/>
                <a:gd name="connsiteY6" fmla="*/ 736044 h 762708"/>
                <a:gd name="connsiteX7" fmla="*/ 548460 w 915449"/>
                <a:gd name="connsiteY7" fmla="*/ 731881 h 762708"/>
                <a:gd name="connsiteX8" fmla="*/ 591649 w 915449"/>
                <a:gd name="connsiteY8" fmla="*/ 708465 h 762708"/>
                <a:gd name="connsiteX9" fmla="*/ 592950 w 915449"/>
                <a:gd name="connsiteY9" fmla="*/ 708465 h 762708"/>
                <a:gd name="connsiteX10" fmla="*/ 644206 w 915449"/>
                <a:gd name="connsiteY10" fmla="*/ 681666 h 762708"/>
                <a:gd name="connsiteX11" fmla="*/ 652011 w 915449"/>
                <a:gd name="connsiteY11" fmla="*/ 669438 h 762708"/>
                <a:gd name="connsiteX12" fmla="*/ 696762 w 915449"/>
                <a:gd name="connsiteY12" fmla="*/ 643160 h 762708"/>
                <a:gd name="connsiteX13" fmla="*/ 710812 w 915449"/>
                <a:gd name="connsiteY13" fmla="*/ 643420 h 762708"/>
                <a:gd name="connsiteX14" fmla="*/ 771434 w 915449"/>
                <a:gd name="connsiteY14" fmla="*/ 600751 h 762708"/>
                <a:gd name="connsiteX15" fmla="*/ 774296 w 915449"/>
                <a:gd name="connsiteY15" fmla="*/ 594246 h 762708"/>
                <a:gd name="connsiteX16" fmla="*/ 821388 w 915449"/>
                <a:gd name="connsiteY16" fmla="*/ 566668 h 762708"/>
                <a:gd name="connsiteX17" fmla="*/ 825291 w 915449"/>
                <a:gd name="connsiteY17" fmla="*/ 567188 h 762708"/>
                <a:gd name="connsiteX18" fmla="*/ 908809 w 915449"/>
                <a:gd name="connsiteY18" fmla="*/ 516713 h 762708"/>
                <a:gd name="connsiteX19" fmla="*/ 884612 w 915449"/>
                <a:gd name="connsiteY19" fmla="*/ 419407 h 76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15449" h="762708">
                  <a:moveTo>
                    <a:pt x="884872" y="419667"/>
                  </a:moveTo>
                  <a:lnTo>
                    <a:pt x="885132" y="419667"/>
                  </a:lnTo>
                  <a:cubicBezTo>
                    <a:pt x="885132" y="419667"/>
                    <a:pt x="294004" y="0"/>
                    <a:pt x="294004" y="0"/>
                  </a:cubicBezTo>
                  <a:lnTo>
                    <a:pt x="0" y="422529"/>
                  </a:lnTo>
                  <a:lnTo>
                    <a:pt x="462860" y="749573"/>
                  </a:lnTo>
                  <a:cubicBezTo>
                    <a:pt x="473007" y="758159"/>
                    <a:pt x="486016" y="763622"/>
                    <a:pt x="501627" y="762582"/>
                  </a:cubicBezTo>
                  <a:cubicBezTo>
                    <a:pt x="519840" y="761541"/>
                    <a:pt x="536751" y="751394"/>
                    <a:pt x="546118" y="736044"/>
                  </a:cubicBezTo>
                  <a:cubicBezTo>
                    <a:pt x="546898" y="734743"/>
                    <a:pt x="547679" y="733182"/>
                    <a:pt x="548460" y="731881"/>
                  </a:cubicBezTo>
                  <a:cubicBezTo>
                    <a:pt x="556525" y="716010"/>
                    <a:pt x="573697" y="707684"/>
                    <a:pt x="591649" y="708465"/>
                  </a:cubicBezTo>
                  <a:cubicBezTo>
                    <a:pt x="592170" y="708465"/>
                    <a:pt x="592430" y="708465"/>
                    <a:pt x="592950" y="708465"/>
                  </a:cubicBezTo>
                  <a:cubicBezTo>
                    <a:pt x="613244" y="708725"/>
                    <a:pt x="631717" y="697797"/>
                    <a:pt x="644206" y="681666"/>
                  </a:cubicBezTo>
                  <a:cubicBezTo>
                    <a:pt x="647328" y="677503"/>
                    <a:pt x="649930" y="673341"/>
                    <a:pt x="652011" y="669438"/>
                  </a:cubicBezTo>
                  <a:cubicBezTo>
                    <a:pt x="660857" y="652786"/>
                    <a:pt x="677769" y="641079"/>
                    <a:pt x="696762" y="643160"/>
                  </a:cubicBezTo>
                  <a:cubicBezTo>
                    <a:pt x="701445" y="643680"/>
                    <a:pt x="706129" y="643680"/>
                    <a:pt x="710812" y="643420"/>
                  </a:cubicBezTo>
                  <a:cubicBezTo>
                    <a:pt x="737090" y="641599"/>
                    <a:pt x="759466" y="624167"/>
                    <a:pt x="771434" y="600751"/>
                  </a:cubicBezTo>
                  <a:cubicBezTo>
                    <a:pt x="772475" y="598669"/>
                    <a:pt x="773515" y="596328"/>
                    <a:pt x="774296" y="594246"/>
                  </a:cubicBezTo>
                  <a:cubicBezTo>
                    <a:pt x="781841" y="575514"/>
                    <a:pt x="801094" y="564066"/>
                    <a:pt x="821388" y="566668"/>
                  </a:cubicBezTo>
                  <a:cubicBezTo>
                    <a:pt x="822689" y="566668"/>
                    <a:pt x="823990" y="566928"/>
                    <a:pt x="825291" y="567188"/>
                  </a:cubicBezTo>
                  <a:cubicBezTo>
                    <a:pt x="860676" y="570310"/>
                    <a:pt x="895019" y="549496"/>
                    <a:pt x="908809" y="516713"/>
                  </a:cubicBezTo>
                  <a:cubicBezTo>
                    <a:pt x="923899" y="480809"/>
                    <a:pt x="912191" y="441782"/>
                    <a:pt x="884612" y="419407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A869A23D-A617-69BB-F43E-ADDECD2F6502}"/>
                </a:ext>
              </a:extLst>
            </p:cNvPr>
            <p:cNvSpPr/>
            <p:nvPr/>
          </p:nvSpPr>
          <p:spPr>
            <a:xfrm>
              <a:off x="1642776" y="3153581"/>
              <a:ext cx="167555" cy="68166"/>
            </a:xfrm>
            <a:custGeom>
              <a:avLst/>
              <a:gdLst>
                <a:gd name="connsiteX0" fmla="*/ 0 w 167555"/>
                <a:gd name="connsiteY0" fmla="*/ 0 h 68166"/>
                <a:gd name="connsiteX1" fmla="*/ 167556 w 167555"/>
                <a:gd name="connsiteY1" fmla="*/ 0 h 68166"/>
                <a:gd name="connsiteX2" fmla="*/ 167556 w 167555"/>
                <a:gd name="connsiteY2" fmla="*/ 68167 h 68166"/>
                <a:gd name="connsiteX3" fmla="*/ 0 w 167555"/>
                <a:gd name="connsiteY3" fmla="*/ 68167 h 6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555" h="68166">
                  <a:moveTo>
                    <a:pt x="0" y="0"/>
                  </a:moveTo>
                  <a:lnTo>
                    <a:pt x="167556" y="0"/>
                  </a:lnTo>
                  <a:lnTo>
                    <a:pt x="167556" y="68167"/>
                  </a:lnTo>
                  <a:lnTo>
                    <a:pt x="0" y="68167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7BC4B856-E233-B8D9-7493-D59D653FDC26}"/>
                </a:ext>
              </a:extLst>
            </p:cNvPr>
            <p:cNvSpPr/>
            <p:nvPr/>
          </p:nvSpPr>
          <p:spPr>
            <a:xfrm rot="17228999">
              <a:off x="1311084" y="3058007"/>
              <a:ext cx="333550" cy="513070"/>
            </a:xfrm>
            <a:custGeom>
              <a:avLst/>
              <a:gdLst>
                <a:gd name="connsiteX0" fmla="*/ 0 w 333550"/>
                <a:gd name="connsiteY0" fmla="*/ 0 h 513070"/>
                <a:gd name="connsiteX1" fmla="*/ 333551 w 333550"/>
                <a:gd name="connsiteY1" fmla="*/ 0 h 513070"/>
                <a:gd name="connsiteX2" fmla="*/ 333551 w 333550"/>
                <a:gd name="connsiteY2" fmla="*/ 513071 h 513070"/>
                <a:gd name="connsiteX3" fmla="*/ 0 w 333550"/>
                <a:gd name="connsiteY3" fmla="*/ 513071 h 5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550" h="513070">
                  <a:moveTo>
                    <a:pt x="0" y="0"/>
                  </a:moveTo>
                  <a:lnTo>
                    <a:pt x="333551" y="0"/>
                  </a:lnTo>
                  <a:lnTo>
                    <a:pt x="333551" y="513071"/>
                  </a:lnTo>
                  <a:lnTo>
                    <a:pt x="0" y="51307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E774E7D-C18D-F172-D44C-E34E2A57DD04}"/>
                </a:ext>
              </a:extLst>
            </p:cNvPr>
            <p:cNvSpPr/>
            <p:nvPr/>
          </p:nvSpPr>
          <p:spPr>
            <a:xfrm>
              <a:off x="1677380" y="3036761"/>
              <a:ext cx="691298" cy="195088"/>
            </a:xfrm>
            <a:custGeom>
              <a:avLst/>
              <a:gdLst>
                <a:gd name="connsiteX0" fmla="*/ 395214 w 691298"/>
                <a:gd name="connsiteY0" fmla="*/ 0 h 195088"/>
                <a:gd name="connsiteX1" fmla="*/ 296345 w 691298"/>
                <a:gd name="connsiteY1" fmla="*/ 0 h 195088"/>
                <a:gd name="connsiteX2" fmla="*/ 181346 w 691298"/>
                <a:gd name="connsiteY2" fmla="*/ 32002 h 195088"/>
                <a:gd name="connsiteX3" fmla="*/ 0 w 691298"/>
                <a:gd name="connsiteY3" fmla="*/ 141537 h 195088"/>
                <a:gd name="connsiteX4" fmla="*/ 152726 w 691298"/>
                <a:gd name="connsiteY4" fmla="*/ 179003 h 195088"/>
                <a:gd name="connsiteX5" fmla="*/ 396254 w 691298"/>
                <a:gd name="connsiteY5" fmla="*/ 90802 h 195088"/>
                <a:gd name="connsiteX6" fmla="*/ 538573 w 691298"/>
                <a:gd name="connsiteY6" fmla="*/ 179003 h 195088"/>
                <a:gd name="connsiteX7" fmla="*/ 691298 w 691298"/>
                <a:gd name="connsiteY7" fmla="*/ 141537 h 195088"/>
                <a:gd name="connsiteX8" fmla="*/ 509953 w 691298"/>
                <a:gd name="connsiteY8" fmla="*/ 32002 h 195088"/>
                <a:gd name="connsiteX9" fmla="*/ 394953 w 691298"/>
                <a:gd name="connsiteY9" fmla="*/ 0 h 19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298" h="195088">
                  <a:moveTo>
                    <a:pt x="395214" y="0"/>
                  </a:moveTo>
                  <a:lnTo>
                    <a:pt x="296345" y="0"/>
                  </a:lnTo>
                  <a:cubicBezTo>
                    <a:pt x="255757" y="0"/>
                    <a:pt x="216210" y="11188"/>
                    <a:pt x="181346" y="32002"/>
                  </a:cubicBezTo>
                  <a:lnTo>
                    <a:pt x="0" y="141537"/>
                  </a:lnTo>
                  <a:cubicBezTo>
                    <a:pt x="31742" y="194093"/>
                    <a:pt x="90022" y="200337"/>
                    <a:pt x="152726" y="179003"/>
                  </a:cubicBezTo>
                  <a:lnTo>
                    <a:pt x="396254" y="90802"/>
                  </a:lnTo>
                  <a:lnTo>
                    <a:pt x="538573" y="179003"/>
                  </a:lnTo>
                  <a:cubicBezTo>
                    <a:pt x="591129" y="210744"/>
                    <a:pt x="659296" y="194093"/>
                    <a:pt x="691298" y="141537"/>
                  </a:cubicBezTo>
                  <a:lnTo>
                    <a:pt x="509953" y="32002"/>
                  </a:lnTo>
                  <a:cubicBezTo>
                    <a:pt x="475349" y="11188"/>
                    <a:pt x="435541" y="0"/>
                    <a:pt x="394953" y="0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FD9444BC-D509-6773-9FC6-30AE5160A4DE}"/>
                </a:ext>
              </a:extLst>
            </p:cNvPr>
            <p:cNvSpPr/>
            <p:nvPr/>
          </p:nvSpPr>
          <p:spPr>
            <a:xfrm>
              <a:off x="1816044" y="3494923"/>
              <a:ext cx="238669" cy="293244"/>
            </a:xfrm>
            <a:custGeom>
              <a:avLst/>
              <a:gdLst>
                <a:gd name="connsiteX0" fmla="*/ 23688 w 238669"/>
                <a:gd name="connsiteY0" fmla="*/ 283086 h 293244"/>
                <a:gd name="connsiteX1" fmla="*/ 23688 w 238669"/>
                <a:gd name="connsiteY1" fmla="*/ 283086 h 293244"/>
                <a:gd name="connsiteX2" fmla="*/ 10159 w 238669"/>
                <a:gd name="connsiteY2" fmla="*/ 205813 h 293244"/>
                <a:gd name="connsiteX3" fmla="*/ 137647 w 238669"/>
                <a:gd name="connsiteY3" fmla="*/ 23688 h 293244"/>
                <a:gd name="connsiteX4" fmla="*/ 214921 w 238669"/>
                <a:gd name="connsiteY4" fmla="*/ 10159 h 293244"/>
                <a:gd name="connsiteX5" fmla="*/ 228710 w 238669"/>
                <a:gd name="connsiteY5" fmla="*/ 87432 h 293244"/>
                <a:gd name="connsiteX6" fmla="*/ 101222 w 238669"/>
                <a:gd name="connsiteY6" fmla="*/ 269557 h 293244"/>
                <a:gd name="connsiteX7" fmla="*/ 23949 w 238669"/>
                <a:gd name="connsiteY7" fmla="*/ 283086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244">
                  <a:moveTo>
                    <a:pt x="23688" y="283086"/>
                  </a:moveTo>
                  <a:lnTo>
                    <a:pt x="23688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39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432"/>
                  </a:cubicBezTo>
                  <a:lnTo>
                    <a:pt x="101222" y="269557"/>
                  </a:lnTo>
                  <a:cubicBezTo>
                    <a:pt x="83530" y="294794"/>
                    <a:pt x="48926" y="300778"/>
                    <a:pt x="23949" y="28308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D67DAF0C-059E-288F-937D-73741E129C48}"/>
                </a:ext>
              </a:extLst>
            </p:cNvPr>
            <p:cNvSpPr/>
            <p:nvPr/>
          </p:nvSpPr>
          <p:spPr>
            <a:xfrm>
              <a:off x="1724721" y="3431699"/>
              <a:ext cx="238669" cy="293244"/>
            </a:xfrm>
            <a:custGeom>
              <a:avLst/>
              <a:gdLst>
                <a:gd name="connsiteX0" fmla="*/ 23688 w 238669"/>
                <a:gd name="connsiteY0" fmla="*/ 283086 h 293244"/>
                <a:gd name="connsiteX1" fmla="*/ 23688 w 238669"/>
                <a:gd name="connsiteY1" fmla="*/ 283086 h 293244"/>
                <a:gd name="connsiteX2" fmla="*/ 10159 w 238669"/>
                <a:gd name="connsiteY2" fmla="*/ 205813 h 293244"/>
                <a:gd name="connsiteX3" fmla="*/ 137647 w 238669"/>
                <a:gd name="connsiteY3" fmla="*/ 23688 h 293244"/>
                <a:gd name="connsiteX4" fmla="*/ 214921 w 238669"/>
                <a:gd name="connsiteY4" fmla="*/ 10159 h 293244"/>
                <a:gd name="connsiteX5" fmla="*/ 228710 w 238669"/>
                <a:gd name="connsiteY5" fmla="*/ 87432 h 293244"/>
                <a:gd name="connsiteX6" fmla="*/ 101222 w 238669"/>
                <a:gd name="connsiteY6" fmla="*/ 269557 h 293244"/>
                <a:gd name="connsiteX7" fmla="*/ 23949 w 238669"/>
                <a:gd name="connsiteY7" fmla="*/ 283086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244">
                  <a:moveTo>
                    <a:pt x="23688" y="283086"/>
                  </a:moveTo>
                  <a:lnTo>
                    <a:pt x="23688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40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432"/>
                  </a:cubicBezTo>
                  <a:lnTo>
                    <a:pt x="101222" y="269557"/>
                  </a:lnTo>
                  <a:cubicBezTo>
                    <a:pt x="83530" y="294794"/>
                    <a:pt x="48926" y="300778"/>
                    <a:pt x="23949" y="28308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A1615373-43F5-F453-1FFE-8DCBAE2D8A40}"/>
                </a:ext>
              </a:extLst>
            </p:cNvPr>
            <p:cNvSpPr/>
            <p:nvPr/>
          </p:nvSpPr>
          <p:spPr>
            <a:xfrm>
              <a:off x="1633658" y="3367956"/>
              <a:ext cx="238669" cy="293504"/>
            </a:xfrm>
            <a:custGeom>
              <a:avLst/>
              <a:gdLst>
                <a:gd name="connsiteX0" fmla="*/ 23689 w 238669"/>
                <a:gd name="connsiteY0" fmla="*/ 283086 h 293504"/>
                <a:gd name="connsiteX1" fmla="*/ 23689 w 238669"/>
                <a:gd name="connsiteY1" fmla="*/ 283086 h 293504"/>
                <a:gd name="connsiteX2" fmla="*/ 10159 w 238669"/>
                <a:gd name="connsiteY2" fmla="*/ 205813 h 293504"/>
                <a:gd name="connsiteX3" fmla="*/ 137647 w 238669"/>
                <a:gd name="connsiteY3" fmla="*/ 23688 h 293504"/>
                <a:gd name="connsiteX4" fmla="*/ 214921 w 238669"/>
                <a:gd name="connsiteY4" fmla="*/ 10159 h 293504"/>
                <a:gd name="connsiteX5" fmla="*/ 228710 w 238669"/>
                <a:gd name="connsiteY5" fmla="*/ 87692 h 293504"/>
                <a:gd name="connsiteX6" fmla="*/ 101222 w 238669"/>
                <a:gd name="connsiteY6" fmla="*/ 269817 h 293504"/>
                <a:gd name="connsiteX7" fmla="*/ 23949 w 238669"/>
                <a:gd name="connsiteY7" fmla="*/ 283346 h 293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504">
                  <a:moveTo>
                    <a:pt x="23689" y="283086"/>
                  </a:moveTo>
                  <a:lnTo>
                    <a:pt x="23689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40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692"/>
                  </a:cubicBezTo>
                  <a:lnTo>
                    <a:pt x="101222" y="269817"/>
                  </a:lnTo>
                  <a:cubicBezTo>
                    <a:pt x="83530" y="295054"/>
                    <a:pt x="48926" y="301038"/>
                    <a:pt x="23949" y="28334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32FC175-F3BA-4E04-3BCE-31255C5F3BBE}"/>
                </a:ext>
              </a:extLst>
            </p:cNvPr>
            <p:cNvSpPr/>
            <p:nvPr/>
          </p:nvSpPr>
          <p:spPr>
            <a:xfrm>
              <a:off x="2368678" y="2125618"/>
              <a:ext cx="1269158" cy="1370097"/>
            </a:xfrm>
            <a:custGeom>
              <a:avLst/>
              <a:gdLst>
                <a:gd name="connsiteX0" fmla="*/ 260 w 1269158"/>
                <a:gd name="connsiteY0" fmla="*/ 1005328 h 1370097"/>
                <a:gd name="connsiteX1" fmla="*/ 624432 w 1269158"/>
                <a:gd name="connsiteY1" fmla="*/ 801869 h 1370097"/>
                <a:gd name="connsiteX2" fmla="*/ 1011059 w 1269158"/>
                <a:gd name="connsiteY2" fmla="*/ 0 h 1370097"/>
                <a:gd name="connsiteX3" fmla="*/ 1269158 w 1269158"/>
                <a:gd name="connsiteY3" fmla="*/ 213866 h 1370097"/>
                <a:gd name="connsiteX4" fmla="*/ 906727 w 1269158"/>
                <a:gd name="connsiteY4" fmla="*/ 1049818 h 1370097"/>
                <a:gd name="connsiteX5" fmla="*/ 748798 w 1269158"/>
                <a:gd name="connsiteY5" fmla="*/ 1159613 h 1370097"/>
                <a:gd name="connsiteX6" fmla="*/ 97828 w 1269158"/>
                <a:gd name="connsiteY6" fmla="*/ 1370097 h 1370097"/>
                <a:gd name="connsiteX7" fmla="*/ 0 w 1269158"/>
                <a:gd name="connsiteY7" fmla="*/ 1005067 h 137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9158" h="1370097">
                  <a:moveTo>
                    <a:pt x="260" y="1005328"/>
                  </a:moveTo>
                  <a:lnTo>
                    <a:pt x="624432" y="801869"/>
                  </a:lnTo>
                  <a:lnTo>
                    <a:pt x="1011059" y="0"/>
                  </a:lnTo>
                  <a:lnTo>
                    <a:pt x="1269158" y="213866"/>
                  </a:lnTo>
                  <a:lnTo>
                    <a:pt x="906727" y="1049818"/>
                  </a:lnTo>
                  <a:cubicBezTo>
                    <a:pt x="868481" y="1103675"/>
                    <a:pt x="812802" y="1142441"/>
                    <a:pt x="748798" y="1159613"/>
                  </a:cubicBezTo>
                  <a:lnTo>
                    <a:pt x="97828" y="1370097"/>
                  </a:lnTo>
                  <a:lnTo>
                    <a:pt x="0" y="100506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40A65C2D-AE82-A612-678C-77A82E15C1D4}"/>
                </a:ext>
              </a:extLst>
            </p:cNvPr>
            <p:cNvSpPr/>
            <p:nvPr/>
          </p:nvSpPr>
          <p:spPr>
            <a:xfrm>
              <a:off x="212567" y="2828619"/>
              <a:ext cx="1075063" cy="642639"/>
            </a:xfrm>
            <a:custGeom>
              <a:avLst/>
              <a:gdLst>
                <a:gd name="connsiteX0" fmla="*/ 1042541 w 1075063"/>
                <a:gd name="connsiteY0" fmla="*/ 642640 h 642639"/>
                <a:gd name="connsiteX1" fmla="*/ 0 w 1075063"/>
                <a:gd name="connsiteY1" fmla="*/ 335369 h 642639"/>
                <a:gd name="connsiteX2" fmla="*/ 2862 w 1075063"/>
                <a:gd name="connsiteY2" fmla="*/ 0 h 642639"/>
                <a:gd name="connsiteX3" fmla="*/ 1075064 w 1075063"/>
                <a:gd name="connsiteY3" fmla="*/ 220631 h 642639"/>
                <a:gd name="connsiteX4" fmla="*/ 1042541 w 1075063"/>
                <a:gd name="connsiteY4" fmla="*/ 642640 h 64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5063" h="642639">
                  <a:moveTo>
                    <a:pt x="1042541" y="642640"/>
                  </a:moveTo>
                  <a:lnTo>
                    <a:pt x="0" y="335369"/>
                  </a:lnTo>
                  <a:lnTo>
                    <a:pt x="2862" y="0"/>
                  </a:lnTo>
                  <a:lnTo>
                    <a:pt x="1075064" y="220631"/>
                  </a:lnTo>
                  <a:lnTo>
                    <a:pt x="1042541" y="64264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F3B0D71-17FC-5B51-7125-D4EE02E190D6}"/>
                </a:ext>
              </a:extLst>
            </p:cNvPr>
            <p:cNvSpPr/>
            <p:nvPr/>
          </p:nvSpPr>
          <p:spPr>
            <a:xfrm>
              <a:off x="-167" y="2739471"/>
              <a:ext cx="482709" cy="482705"/>
            </a:xfrm>
            <a:custGeom>
              <a:avLst/>
              <a:gdLst>
                <a:gd name="connsiteX0" fmla="*/ 481241 w 482709"/>
                <a:gd name="connsiteY0" fmla="*/ 267891 h 482705"/>
                <a:gd name="connsiteX1" fmla="*/ 214816 w 482709"/>
                <a:gd name="connsiteY1" fmla="*/ 481237 h 482705"/>
                <a:gd name="connsiteX2" fmla="*/ 1469 w 482709"/>
                <a:gd name="connsiteY2" fmla="*/ 214814 h 482705"/>
                <a:gd name="connsiteX3" fmla="*/ 267893 w 482709"/>
                <a:gd name="connsiteY3" fmla="*/ 1469 h 482705"/>
                <a:gd name="connsiteX4" fmla="*/ 481241 w 482709"/>
                <a:gd name="connsiteY4" fmla="*/ 267631 h 48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709" h="482705">
                  <a:moveTo>
                    <a:pt x="481241" y="267891"/>
                  </a:moveTo>
                  <a:cubicBezTo>
                    <a:pt x="466670" y="400321"/>
                    <a:pt x="347248" y="495807"/>
                    <a:pt x="214816" y="481237"/>
                  </a:cubicBezTo>
                  <a:cubicBezTo>
                    <a:pt x="82385" y="466667"/>
                    <a:pt x="-13101" y="347245"/>
                    <a:pt x="1469" y="214814"/>
                  </a:cubicBezTo>
                  <a:cubicBezTo>
                    <a:pt x="16039" y="82384"/>
                    <a:pt x="135461" y="-13101"/>
                    <a:pt x="267893" y="1469"/>
                  </a:cubicBezTo>
                  <a:cubicBezTo>
                    <a:pt x="400325" y="16039"/>
                    <a:pt x="495811" y="135200"/>
                    <a:pt x="481241" y="267631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F37B452-FE5A-6BFE-7F83-9CEA6797F6FB}"/>
                </a:ext>
              </a:extLst>
            </p:cNvPr>
            <p:cNvSpPr/>
            <p:nvPr/>
          </p:nvSpPr>
          <p:spPr>
            <a:xfrm>
              <a:off x="237804" y="2741459"/>
              <a:ext cx="1015100" cy="752512"/>
            </a:xfrm>
            <a:custGeom>
              <a:avLst/>
              <a:gdLst>
                <a:gd name="connsiteX0" fmla="*/ 895540 w 1015100"/>
                <a:gd name="connsiteY0" fmla="*/ 749833 h 752512"/>
                <a:gd name="connsiteX1" fmla="*/ 0 w 1015100"/>
                <a:gd name="connsiteY1" fmla="*/ 480809 h 752512"/>
                <a:gd name="connsiteX2" fmla="*/ 32523 w 1015100"/>
                <a:gd name="connsiteY2" fmla="*/ 0 h 752512"/>
                <a:gd name="connsiteX3" fmla="*/ 972033 w 1015100"/>
                <a:gd name="connsiteY3" fmla="*/ 225834 h 752512"/>
                <a:gd name="connsiteX4" fmla="*/ 1014702 w 1015100"/>
                <a:gd name="connsiteY4" fmla="*/ 286976 h 752512"/>
                <a:gd name="connsiteX5" fmla="*/ 967349 w 1015100"/>
                <a:gd name="connsiteY5" fmla="*/ 702481 h 752512"/>
                <a:gd name="connsiteX6" fmla="*/ 895279 w 1015100"/>
                <a:gd name="connsiteY6" fmla="*/ 750093 h 752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5100" h="752512">
                  <a:moveTo>
                    <a:pt x="895540" y="749833"/>
                  </a:moveTo>
                  <a:lnTo>
                    <a:pt x="0" y="480809"/>
                  </a:lnTo>
                  <a:lnTo>
                    <a:pt x="32523" y="0"/>
                  </a:lnTo>
                  <a:lnTo>
                    <a:pt x="972033" y="225834"/>
                  </a:lnTo>
                  <a:cubicBezTo>
                    <a:pt x="999612" y="232339"/>
                    <a:pt x="1018084" y="258617"/>
                    <a:pt x="1014702" y="286976"/>
                  </a:cubicBezTo>
                  <a:lnTo>
                    <a:pt x="967349" y="702481"/>
                  </a:lnTo>
                  <a:cubicBezTo>
                    <a:pt x="963447" y="737345"/>
                    <a:pt x="928843" y="760240"/>
                    <a:pt x="895279" y="750093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912B447-50E6-D7B9-77B4-D9EDD28C8D77}"/>
                </a:ext>
              </a:extLst>
            </p:cNvPr>
            <p:cNvSpPr/>
            <p:nvPr/>
          </p:nvSpPr>
          <p:spPr>
            <a:xfrm>
              <a:off x="3614420" y="5721538"/>
              <a:ext cx="555484" cy="1146604"/>
            </a:xfrm>
            <a:custGeom>
              <a:avLst/>
              <a:gdLst>
                <a:gd name="connsiteX0" fmla="*/ 13790 w 555484"/>
                <a:gd name="connsiteY0" fmla="*/ 5984 h 1146604"/>
                <a:gd name="connsiteX1" fmla="*/ 0 w 555484"/>
                <a:gd name="connsiteY1" fmla="*/ 1146604 h 1146604"/>
                <a:gd name="connsiteX2" fmla="*/ 555485 w 555484"/>
                <a:gd name="connsiteY2" fmla="*/ 1146604 h 1146604"/>
                <a:gd name="connsiteX3" fmla="*/ 521661 w 555484"/>
                <a:gd name="connsiteY3" fmla="*/ 0 h 1146604"/>
                <a:gd name="connsiteX4" fmla="*/ 13790 w 555484"/>
                <a:gd name="connsiteY4" fmla="*/ 5984 h 114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484" h="1146604">
                  <a:moveTo>
                    <a:pt x="13790" y="5984"/>
                  </a:moveTo>
                  <a:lnTo>
                    <a:pt x="0" y="1146604"/>
                  </a:lnTo>
                  <a:lnTo>
                    <a:pt x="555485" y="1146604"/>
                  </a:lnTo>
                  <a:lnTo>
                    <a:pt x="521661" y="0"/>
                  </a:lnTo>
                  <a:lnTo>
                    <a:pt x="13790" y="5984"/>
                  </a:lnTo>
                  <a:close/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7C197674-AF19-6025-91DE-C7D4C339B1B5}"/>
                </a:ext>
              </a:extLst>
            </p:cNvPr>
            <p:cNvSpPr/>
            <p:nvPr/>
          </p:nvSpPr>
          <p:spPr>
            <a:xfrm>
              <a:off x="3578515" y="3925269"/>
              <a:ext cx="595291" cy="1807976"/>
            </a:xfrm>
            <a:custGeom>
              <a:avLst/>
              <a:gdLst>
                <a:gd name="connsiteX0" fmla="*/ 49955 w 595291"/>
                <a:gd name="connsiteY0" fmla="*/ 1807977 h 1807976"/>
                <a:gd name="connsiteX1" fmla="*/ 0 w 595291"/>
                <a:gd name="connsiteY1" fmla="*/ 2602 h 1807976"/>
                <a:gd name="connsiteX2" fmla="*/ 595292 w 595291"/>
                <a:gd name="connsiteY2" fmla="*/ 0 h 1807976"/>
                <a:gd name="connsiteX3" fmla="*/ 557306 w 595291"/>
                <a:gd name="connsiteY3" fmla="*/ 1798611 h 1807976"/>
                <a:gd name="connsiteX4" fmla="*/ 49955 w 595291"/>
                <a:gd name="connsiteY4" fmla="*/ 1807717 h 1807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291" h="1807976">
                  <a:moveTo>
                    <a:pt x="49955" y="1807977"/>
                  </a:moveTo>
                  <a:lnTo>
                    <a:pt x="0" y="2602"/>
                  </a:lnTo>
                  <a:lnTo>
                    <a:pt x="595292" y="0"/>
                  </a:lnTo>
                  <a:lnTo>
                    <a:pt x="557306" y="1798611"/>
                  </a:lnTo>
                  <a:cubicBezTo>
                    <a:pt x="557306" y="1798611"/>
                    <a:pt x="44751" y="1802513"/>
                    <a:pt x="49955" y="1807717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55875CC-700B-F916-71ED-BDD7110ECCEA}"/>
                </a:ext>
              </a:extLst>
            </p:cNvPr>
            <p:cNvSpPr/>
            <p:nvPr/>
          </p:nvSpPr>
          <p:spPr>
            <a:xfrm>
              <a:off x="3578252" y="3626842"/>
              <a:ext cx="595818" cy="595814"/>
            </a:xfrm>
            <a:custGeom>
              <a:avLst/>
              <a:gdLst>
                <a:gd name="connsiteX0" fmla="*/ 3 w 595818"/>
                <a:gd name="connsiteY0" fmla="*/ 299208 h 595814"/>
                <a:gd name="connsiteX1" fmla="*/ 299210 w 595818"/>
                <a:gd name="connsiteY1" fmla="*/ 595811 h 595814"/>
                <a:gd name="connsiteX2" fmla="*/ 595816 w 595818"/>
                <a:gd name="connsiteY2" fmla="*/ 296607 h 595814"/>
                <a:gd name="connsiteX3" fmla="*/ 296608 w 595818"/>
                <a:gd name="connsiteY3" fmla="*/ 3 h 595814"/>
                <a:gd name="connsiteX4" fmla="*/ 3 w 595818"/>
                <a:gd name="connsiteY4" fmla="*/ 299208 h 59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818" h="595814">
                  <a:moveTo>
                    <a:pt x="3" y="299208"/>
                  </a:moveTo>
                  <a:cubicBezTo>
                    <a:pt x="784" y="463641"/>
                    <a:pt x="134516" y="596592"/>
                    <a:pt x="299210" y="595811"/>
                  </a:cubicBezTo>
                  <a:cubicBezTo>
                    <a:pt x="463644" y="595030"/>
                    <a:pt x="596596" y="461299"/>
                    <a:pt x="595816" y="296607"/>
                  </a:cubicBezTo>
                  <a:cubicBezTo>
                    <a:pt x="595035" y="132174"/>
                    <a:pt x="461302" y="-777"/>
                    <a:pt x="296608" y="3"/>
                  </a:cubicBezTo>
                  <a:cubicBezTo>
                    <a:pt x="132175" y="784"/>
                    <a:pt x="-777" y="134516"/>
                    <a:pt x="3" y="299208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1D06D9E3-A86E-0DDE-DE9C-B527584AA9D6}"/>
                </a:ext>
              </a:extLst>
            </p:cNvPr>
            <p:cNvSpPr/>
            <p:nvPr/>
          </p:nvSpPr>
          <p:spPr>
            <a:xfrm>
              <a:off x="3627685" y="5468381"/>
              <a:ext cx="508660" cy="508395"/>
            </a:xfrm>
            <a:custGeom>
              <a:avLst/>
              <a:gdLst>
                <a:gd name="connsiteX0" fmla="*/ 264 w 508660"/>
                <a:gd name="connsiteY0" fmla="*/ 255239 h 508395"/>
                <a:gd name="connsiteX1" fmla="*/ 255501 w 508660"/>
                <a:gd name="connsiteY1" fmla="*/ 508392 h 508395"/>
                <a:gd name="connsiteX2" fmla="*/ 508656 w 508660"/>
                <a:gd name="connsiteY2" fmla="*/ 253157 h 508395"/>
                <a:gd name="connsiteX3" fmla="*/ 253159 w 508660"/>
                <a:gd name="connsiteY3" fmla="*/ 4 h 508395"/>
                <a:gd name="connsiteX4" fmla="*/ 4 w 508660"/>
                <a:gd name="connsiteY4" fmla="*/ 255239 h 50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660" h="508395">
                  <a:moveTo>
                    <a:pt x="264" y="255239"/>
                  </a:moveTo>
                  <a:cubicBezTo>
                    <a:pt x="785" y="395735"/>
                    <a:pt x="115264" y="509173"/>
                    <a:pt x="255501" y="508392"/>
                  </a:cubicBezTo>
                  <a:cubicBezTo>
                    <a:pt x="395998" y="507872"/>
                    <a:pt x="509437" y="393393"/>
                    <a:pt x="508656" y="253157"/>
                  </a:cubicBezTo>
                  <a:cubicBezTo>
                    <a:pt x="508136" y="112661"/>
                    <a:pt x="393657" y="-776"/>
                    <a:pt x="253159" y="4"/>
                  </a:cubicBezTo>
                  <a:cubicBezTo>
                    <a:pt x="112662" y="524"/>
                    <a:pt x="-777" y="115003"/>
                    <a:pt x="4" y="255239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3412C323-CFB2-42A5-87E6-D355986ED074}"/>
                </a:ext>
              </a:extLst>
            </p:cNvPr>
            <p:cNvSpPr/>
            <p:nvPr/>
          </p:nvSpPr>
          <p:spPr>
            <a:xfrm>
              <a:off x="3556027" y="2836164"/>
              <a:ext cx="896433" cy="1089365"/>
            </a:xfrm>
            <a:custGeom>
              <a:avLst/>
              <a:gdLst>
                <a:gd name="connsiteX0" fmla="*/ 896173 w 896433"/>
                <a:gd name="connsiteY0" fmla="*/ 1089365 h 1089365"/>
                <a:gd name="connsiteX1" fmla="*/ 14943 w 896433"/>
                <a:gd name="connsiteY1" fmla="*/ 1089365 h 1089365"/>
                <a:gd name="connsiteX2" fmla="*/ 181198 w 896433"/>
                <a:gd name="connsiteY2" fmla="*/ 0 h 1089365"/>
                <a:gd name="connsiteX3" fmla="*/ 896433 w 896433"/>
                <a:gd name="connsiteY3" fmla="*/ 1069852 h 1089365"/>
                <a:gd name="connsiteX4" fmla="*/ 896433 w 896433"/>
                <a:gd name="connsiteY4" fmla="*/ 1074795 h 1089365"/>
                <a:gd name="connsiteX5" fmla="*/ 895913 w 896433"/>
                <a:gd name="connsiteY5" fmla="*/ 1089365 h 108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433" h="1089365">
                  <a:moveTo>
                    <a:pt x="896173" y="1089365"/>
                  </a:moveTo>
                  <a:lnTo>
                    <a:pt x="14943" y="1089365"/>
                  </a:lnTo>
                  <a:cubicBezTo>
                    <a:pt x="-49321" y="681666"/>
                    <a:pt x="110169" y="203719"/>
                    <a:pt x="181198" y="0"/>
                  </a:cubicBezTo>
                  <a:cubicBezTo>
                    <a:pt x="622203" y="169636"/>
                    <a:pt x="896433" y="552358"/>
                    <a:pt x="896433" y="1069852"/>
                  </a:cubicBezTo>
                  <a:cubicBezTo>
                    <a:pt x="896433" y="1071413"/>
                    <a:pt x="896433" y="1072974"/>
                    <a:pt x="896433" y="1074795"/>
                  </a:cubicBezTo>
                  <a:cubicBezTo>
                    <a:pt x="896433" y="1079739"/>
                    <a:pt x="896433" y="1084422"/>
                    <a:pt x="895913" y="1089365"/>
                  </a:cubicBezTo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89431E8-514A-529B-B5A4-E238699681E5}"/>
                </a:ext>
              </a:extLst>
            </p:cNvPr>
            <p:cNvSpPr/>
            <p:nvPr/>
          </p:nvSpPr>
          <p:spPr>
            <a:xfrm>
              <a:off x="3371672" y="2011140"/>
              <a:ext cx="1254067" cy="1413546"/>
            </a:xfrm>
            <a:custGeom>
              <a:avLst/>
              <a:gdLst>
                <a:gd name="connsiteX0" fmla="*/ 188891 w 1254067"/>
                <a:gd name="connsiteY0" fmla="*/ 1332111 h 1413546"/>
                <a:gd name="connsiteX1" fmla="*/ 0 w 1254067"/>
                <a:gd name="connsiteY1" fmla="*/ 233119 h 1413546"/>
                <a:gd name="connsiteX2" fmla="*/ 246130 w 1254067"/>
                <a:gd name="connsiteY2" fmla="*/ 0 h 1413546"/>
                <a:gd name="connsiteX3" fmla="*/ 1203073 w 1254067"/>
                <a:gd name="connsiteY3" fmla="*/ 0 h 1413546"/>
                <a:gd name="connsiteX4" fmla="*/ 1231692 w 1254067"/>
                <a:gd name="connsiteY4" fmla="*/ 26798 h 1413546"/>
                <a:gd name="connsiteX5" fmla="*/ 1254068 w 1254067"/>
                <a:gd name="connsiteY5" fmla="*/ 358005 h 1413546"/>
                <a:gd name="connsiteX6" fmla="*/ 1007157 w 1254067"/>
                <a:gd name="connsiteY6" fmla="*/ 1339656 h 1413546"/>
                <a:gd name="connsiteX7" fmla="*/ 912452 w 1254067"/>
                <a:gd name="connsiteY7" fmla="*/ 1413547 h 1413546"/>
                <a:gd name="connsiteX8" fmla="*/ 284897 w 1254067"/>
                <a:gd name="connsiteY8" fmla="*/ 1413547 h 1413546"/>
                <a:gd name="connsiteX9" fmla="*/ 188631 w 1254067"/>
                <a:gd name="connsiteY9" fmla="*/ 1332371 h 1413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4067" h="1413546">
                  <a:moveTo>
                    <a:pt x="188891" y="1332111"/>
                  </a:moveTo>
                  <a:lnTo>
                    <a:pt x="0" y="233119"/>
                  </a:lnTo>
                  <a:cubicBezTo>
                    <a:pt x="25237" y="97827"/>
                    <a:pt x="108755" y="0"/>
                    <a:pt x="246130" y="0"/>
                  </a:cubicBezTo>
                  <a:lnTo>
                    <a:pt x="1203073" y="0"/>
                  </a:lnTo>
                  <a:cubicBezTo>
                    <a:pt x="1218163" y="0"/>
                    <a:pt x="1230652" y="11708"/>
                    <a:pt x="1231692" y="26798"/>
                  </a:cubicBezTo>
                  <a:lnTo>
                    <a:pt x="1254068" y="358005"/>
                  </a:lnTo>
                  <a:lnTo>
                    <a:pt x="1007157" y="1339656"/>
                  </a:lnTo>
                  <a:cubicBezTo>
                    <a:pt x="996230" y="1383106"/>
                    <a:pt x="957203" y="1413547"/>
                    <a:pt x="912452" y="1413547"/>
                  </a:cubicBezTo>
                  <a:lnTo>
                    <a:pt x="284897" y="1413547"/>
                  </a:lnTo>
                  <a:cubicBezTo>
                    <a:pt x="237284" y="1413547"/>
                    <a:pt x="196696" y="1379204"/>
                    <a:pt x="188631" y="1332371"/>
                  </a:cubicBezTo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E1C17A0F-C21D-8987-8DAB-20EE046A2066}"/>
                </a:ext>
              </a:extLst>
            </p:cNvPr>
            <p:cNvSpPr/>
            <p:nvPr/>
          </p:nvSpPr>
          <p:spPr>
            <a:xfrm>
              <a:off x="3955516" y="6725042"/>
              <a:ext cx="418112" cy="418110"/>
            </a:xfrm>
            <a:custGeom>
              <a:avLst/>
              <a:gdLst>
                <a:gd name="connsiteX0" fmla="*/ 261 w 418112"/>
                <a:gd name="connsiteY0" fmla="*/ 209966 h 418110"/>
                <a:gd name="connsiteX1" fmla="*/ 209966 w 418112"/>
                <a:gd name="connsiteY1" fmla="*/ 418108 h 418110"/>
                <a:gd name="connsiteX2" fmla="*/ 418110 w 418112"/>
                <a:gd name="connsiteY2" fmla="*/ 208145 h 418110"/>
                <a:gd name="connsiteX3" fmla="*/ 208145 w 418112"/>
                <a:gd name="connsiteY3" fmla="*/ 2 h 418110"/>
                <a:gd name="connsiteX4" fmla="*/ 1 w 418112"/>
                <a:gd name="connsiteY4" fmla="*/ 209706 h 41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112" h="418110">
                  <a:moveTo>
                    <a:pt x="261" y="209966"/>
                  </a:moveTo>
                  <a:cubicBezTo>
                    <a:pt x="781" y="325485"/>
                    <a:pt x="94706" y="418628"/>
                    <a:pt x="209966" y="418108"/>
                  </a:cubicBezTo>
                  <a:cubicBezTo>
                    <a:pt x="325486" y="417588"/>
                    <a:pt x="418630" y="323664"/>
                    <a:pt x="418110" y="208145"/>
                  </a:cubicBezTo>
                  <a:cubicBezTo>
                    <a:pt x="417590" y="92886"/>
                    <a:pt x="323665" y="-518"/>
                    <a:pt x="208145" y="2"/>
                  </a:cubicBezTo>
                  <a:cubicBezTo>
                    <a:pt x="92885" y="523"/>
                    <a:pt x="-259" y="94447"/>
                    <a:pt x="1" y="209706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ED77DDDB-D09B-E454-1ED1-E8F2EA7CEAA7}"/>
                </a:ext>
              </a:extLst>
            </p:cNvPr>
            <p:cNvSpPr/>
            <p:nvPr/>
          </p:nvSpPr>
          <p:spPr>
            <a:xfrm>
              <a:off x="3955774" y="6725302"/>
              <a:ext cx="420193" cy="820343"/>
            </a:xfrm>
            <a:custGeom>
              <a:avLst/>
              <a:gdLst>
                <a:gd name="connsiteX0" fmla="*/ 420193 w 420193"/>
                <a:gd name="connsiteY0" fmla="*/ 818522 h 820343"/>
                <a:gd name="connsiteX1" fmla="*/ 2604 w 420193"/>
                <a:gd name="connsiteY1" fmla="*/ 820343 h 820343"/>
                <a:gd name="connsiteX2" fmla="*/ 523 w 420193"/>
                <a:gd name="connsiteY2" fmla="*/ 217771 h 820343"/>
                <a:gd name="connsiteX3" fmla="*/ 2 w 420193"/>
                <a:gd name="connsiteY3" fmla="*/ 209706 h 820343"/>
                <a:gd name="connsiteX4" fmla="*/ 208146 w 420193"/>
                <a:gd name="connsiteY4" fmla="*/ 2 h 820343"/>
                <a:gd name="connsiteX5" fmla="*/ 417852 w 420193"/>
                <a:gd name="connsiteY5" fmla="*/ 208145 h 820343"/>
                <a:gd name="connsiteX6" fmla="*/ 417852 w 420193"/>
                <a:gd name="connsiteY6" fmla="*/ 209185 h 820343"/>
                <a:gd name="connsiteX7" fmla="*/ 417852 w 420193"/>
                <a:gd name="connsiteY7" fmla="*/ 209185 h 820343"/>
                <a:gd name="connsiteX8" fmla="*/ 419933 w 420193"/>
                <a:gd name="connsiteY8" fmla="*/ 818522 h 82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193" h="820343">
                  <a:moveTo>
                    <a:pt x="420193" y="818522"/>
                  </a:moveTo>
                  <a:lnTo>
                    <a:pt x="2604" y="820343"/>
                  </a:lnTo>
                  <a:lnTo>
                    <a:pt x="523" y="217771"/>
                  </a:lnTo>
                  <a:cubicBezTo>
                    <a:pt x="523" y="215169"/>
                    <a:pt x="2" y="212307"/>
                    <a:pt x="2" y="209706"/>
                  </a:cubicBezTo>
                  <a:cubicBezTo>
                    <a:pt x="-518" y="94447"/>
                    <a:pt x="92627" y="263"/>
                    <a:pt x="208146" y="2"/>
                  </a:cubicBezTo>
                  <a:cubicBezTo>
                    <a:pt x="323406" y="-518"/>
                    <a:pt x="417591" y="92626"/>
                    <a:pt x="417852" y="208145"/>
                  </a:cubicBezTo>
                  <a:cubicBezTo>
                    <a:pt x="417852" y="208405"/>
                    <a:pt x="417852" y="208925"/>
                    <a:pt x="417852" y="209185"/>
                  </a:cubicBezTo>
                  <a:lnTo>
                    <a:pt x="417852" y="209185"/>
                  </a:lnTo>
                  <a:lnTo>
                    <a:pt x="419933" y="818522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2AED160-55E4-5712-0847-2C3F5D4C6DB0}"/>
                </a:ext>
              </a:extLst>
            </p:cNvPr>
            <p:cNvSpPr/>
            <p:nvPr/>
          </p:nvSpPr>
          <p:spPr>
            <a:xfrm>
              <a:off x="3891252" y="5721538"/>
              <a:ext cx="555484" cy="1146604"/>
            </a:xfrm>
            <a:custGeom>
              <a:avLst/>
              <a:gdLst>
                <a:gd name="connsiteX0" fmla="*/ 13790 w 555484"/>
                <a:gd name="connsiteY0" fmla="*/ 5984 h 1146604"/>
                <a:gd name="connsiteX1" fmla="*/ 0 w 555484"/>
                <a:gd name="connsiteY1" fmla="*/ 1146604 h 1146604"/>
                <a:gd name="connsiteX2" fmla="*/ 555485 w 555484"/>
                <a:gd name="connsiteY2" fmla="*/ 1146604 h 1146604"/>
                <a:gd name="connsiteX3" fmla="*/ 521661 w 555484"/>
                <a:gd name="connsiteY3" fmla="*/ 0 h 1146604"/>
                <a:gd name="connsiteX4" fmla="*/ 13790 w 555484"/>
                <a:gd name="connsiteY4" fmla="*/ 5984 h 114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484" h="1146604">
                  <a:moveTo>
                    <a:pt x="13790" y="5984"/>
                  </a:moveTo>
                  <a:lnTo>
                    <a:pt x="0" y="1146604"/>
                  </a:lnTo>
                  <a:lnTo>
                    <a:pt x="555485" y="1146604"/>
                  </a:lnTo>
                  <a:lnTo>
                    <a:pt x="521661" y="0"/>
                  </a:lnTo>
                  <a:lnTo>
                    <a:pt x="13790" y="5984"/>
                  </a:lnTo>
                  <a:close/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070567D5-73D5-079B-76AF-ED68EC3D1648}"/>
                </a:ext>
              </a:extLst>
            </p:cNvPr>
            <p:cNvSpPr/>
            <p:nvPr/>
          </p:nvSpPr>
          <p:spPr>
            <a:xfrm>
              <a:off x="3855347" y="3925269"/>
              <a:ext cx="595291" cy="1807976"/>
            </a:xfrm>
            <a:custGeom>
              <a:avLst/>
              <a:gdLst>
                <a:gd name="connsiteX0" fmla="*/ 49955 w 595291"/>
                <a:gd name="connsiteY0" fmla="*/ 1807977 h 1807976"/>
                <a:gd name="connsiteX1" fmla="*/ 0 w 595291"/>
                <a:gd name="connsiteY1" fmla="*/ 2602 h 1807976"/>
                <a:gd name="connsiteX2" fmla="*/ 595292 w 595291"/>
                <a:gd name="connsiteY2" fmla="*/ 0 h 1807976"/>
                <a:gd name="connsiteX3" fmla="*/ 557306 w 595291"/>
                <a:gd name="connsiteY3" fmla="*/ 1798611 h 1807976"/>
                <a:gd name="connsiteX4" fmla="*/ 49955 w 595291"/>
                <a:gd name="connsiteY4" fmla="*/ 1807717 h 1807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291" h="1807976">
                  <a:moveTo>
                    <a:pt x="49955" y="1807977"/>
                  </a:moveTo>
                  <a:lnTo>
                    <a:pt x="0" y="2602"/>
                  </a:lnTo>
                  <a:lnTo>
                    <a:pt x="595292" y="0"/>
                  </a:lnTo>
                  <a:lnTo>
                    <a:pt x="557306" y="1798611"/>
                  </a:lnTo>
                  <a:cubicBezTo>
                    <a:pt x="557306" y="1798611"/>
                    <a:pt x="44751" y="1802513"/>
                    <a:pt x="49955" y="1807717"/>
                  </a:cubicBezTo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1E40139D-3B4C-FB7C-3726-EBB3C52255AA}"/>
                </a:ext>
              </a:extLst>
            </p:cNvPr>
            <p:cNvSpPr/>
            <p:nvPr/>
          </p:nvSpPr>
          <p:spPr>
            <a:xfrm>
              <a:off x="3855083" y="3626842"/>
              <a:ext cx="595819" cy="595814"/>
            </a:xfrm>
            <a:custGeom>
              <a:avLst/>
              <a:gdLst>
                <a:gd name="connsiteX0" fmla="*/ 3 w 595819"/>
                <a:gd name="connsiteY0" fmla="*/ 299208 h 595814"/>
                <a:gd name="connsiteX1" fmla="*/ 299210 w 595819"/>
                <a:gd name="connsiteY1" fmla="*/ 595811 h 595814"/>
                <a:gd name="connsiteX2" fmla="*/ 595816 w 595819"/>
                <a:gd name="connsiteY2" fmla="*/ 296607 h 595814"/>
                <a:gd name="connsiteX3" fmla="*/ 296609 w 595819"/>
                <a:gd name="connsiteY3" fmla="*/ 3 h 595814"/>
                <a:gd name="connsiteX4" fmla="*/ 3 w 595819"/>
                <a:gd name="connsiteY4" fmla="*/ 299208 h 59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819" h="595814">
                  <a:moveTo>
                    <a:pt x="3" y="299208"/>
                  </a:moveTo>
                  <a:cubicBezTo>
                    <a:pt x="784" y="463641"/>
                    <a:pt x="134516" y="596592"/>
                    <a:pt x="299210" y="595811"/>
                  </a:cubicBezTo>
                  <a:cubicBezTo>
                    <a:pt x="463644" y="595030"/>
                    <a:pt x="596596" y="461299"/>
                    <a:pt x="595816" y="296607"/>
                  </a:cubicBezTo>
                  <a:cubicBezTo>
                    <a:pt x="595035" y="132174"/>
                    <a:pt x="461302" y="-777"/>
                    <a:pt x="296609" y="3"/>
                  </a:cubicBezTo>
                  <a:cubicBezTo>
                    <a:pt x="132175" y="784"/>
                    <a:pt x="-777" y="134516"/>
                    <a:pt x="3" y="299208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48F2C30E-9F09-BABB-1C97-977173F6C9B6}"/>
                </a:ext>
              </a:extLst>
            </p:cNvPr>
            <p:cNvSpPr/>
            <p:nvPr/>
          </p:nvSpPr>
          <p:spPr>
            <a:xfrm>
              <a:off x="3904517" y="5468381"/>
              <a:ext cx="508659" cy="508395"/>
            </a:xfrm>
            <a:custGeom>
              <a:avLst/>
              <a:gdLst>
                <a:gd name="connsiteX0" fmla="*/ 264 w 508659"/>
                <a:gd name="connsiteY0" fmla="*/ 255239 h 508395"/>
                <a:gd name="connsiteX1" fmla="*/ 255501 w 508659"/>
                <a:gd name="connsiteY1" fmla="*/ 508392 h 508395"/>
                <a:gd name="connsiteX2" fmla="*/ 508656 w 508659"/>
                <a:gd name="connsiteY2" fmla="*/ 253157 h 508395"/>
                <a:gd name="connsiteX3" fmla="*/ 253159 w 508659"/>
                <a:gd name="connsiteY3" fmla="*/ 4 h 508395"/>
                <a:gd name="connsiteX4" fmla="*/ 4 w 508659"/>
                <a:gd name="connsiteY4" fmla="*/ 255239 h 50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659" h="508395">
                  <a:moveTo>
                    <a:pt x="264" y="255239"/>
                  </a:moveTo>
                  <a:cubicBezTo>
                    <a:pt x="785" y="395735"/>
                    <a:pt x="115264" y="509173"/>
                    <a:pt x="255501" y="508392"/>
                  </a:cubicBezTo>
                  <a:cubicBezTo>
                    <a:pt x="395998" y="507872"/>
                    <a:pt x="509436" y="393393"/>
                    <a:pt x="508656" y="253157"/>
                  </a:cubicBezTo>
                  <a:cubicBezTo>
                    <a:pt x="508136" y="112661"/>
                    <a:pt x="393656" y="-776"/>
                    <a:pt x="253159" y="4"/>
                  </a:cubicBezTo>
                  <a:cubicBezTo>
                    <a:pt x="112662" y="524"/>
                    <a:pt x="-777" y="115003"/>
                    <a:pt x="4" y="255239"/>
                  </a:cubicBezTo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EF2E93BF-91F8-7480-4B68-BA3CDC5AD53B}"/>
                </a:ext>
              </a:extLst>
            </p:cNvPr>
            <p:cNvSpPr/>
            <p:nvPr/>
          </p:nvSpPr>
          <p:spPr>
            <a:xfrm>
              <a:off x="3563425" y="2011140"/>
              <a:ext cx="1003254" cy="835691"/>
            </a:xfrm>
            <a:custGeom>
              <a:avLst/>
              <a:gdLst>
                <a:gd name="connsiteX0" fmla="*/ 1000132 w 1003254"/>
                <a:gd name="connsiteY0" fmla="*/ 0 h 835691"/>
                <a:gd name="connsiteX1" fmla="*/ 0 w 1003254"/>
                <a:gd name="connsiteY1" fmla="*/ 0 h 835691"/>
                <a:gd name="connsiteX2" fmla="*/ 119943 w 1003254"/>
                <a:gd name="connsiteY2" fmla="*/ 835692 h 835691"/>
                <a:gd name="connsiteX3" fmla="*/ 699624 w 1003254"/>
                <a:gd name="connsiteY3" fmla="*/ 835692 h 835691"/>
                <a:gd name="connsiteX4" fmla="*/ 835958 w 1003254"/>
                <a:gd name="connsiteY4" fmla="*/ 726677 h 835691"/>
                <a:gd name="connsiteX5" fmla="*/ 1003254 w 1003254"/>
                <a:gd name="connsiteY5" fmla="*/ 152464 h 835691"/>
                <a:gd name="connsiteX6" fmla="*/ 1000132 w 1003254"/>
                <a:gd name="connsiteY6" fmla="*/ 0 h 83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254" h="835691">
                  <a:moveTo>
                    <a:pt x="1000132" y="0"/>
                  </a:moveTo>
                  <a:lnTo>
                    <a:pt x="0" y="0"/>
                  </a:lnTo>
                  <a:lnTo>
                    <a:pt x="119943" y="835692"/>
                  </a:lnTo>
                  <a:lnTo>
                    <a:pt x="699624" y="835692"/>
                  </a:lnTo>
                  <a:lnTo>
                    <a:pt x="835958" y="726677"/>
                  </a:lnTo>
                  <a:lnTo>
                    <a:pt x="1003254" y="152464"/>
                  </a:lnTo>
                  <a:lnTo>
                    <a:pt x="1000132" y="0"/>
                  </a:lnTo>
                  <a:close/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90748A79-8824-AD1E-6404-F23EE4007068}"/>
                </a:ext>
              </a:extLst>
            </p:cNvPr>
            <p:cNvSpPr/>
            <p:nvPr/>
          </p:nvSpPr>
          <p:spPr>
            <a:xfrm>
              <a:off x="4355413" y="2011140"/>
              <a:ext cx="416288" cy="416284"/>
            </a:xfrm>
            <a:custGeom>
              <a:avLst/>
              <a:gdLst>
                <a:gd name="connsiteX0" fmla="*/ 0 w 416288"/>
                <a:gd name="connsiteY0" fmla="*/ 208142 h 416284"/>
                <a:gd name="connsiteX1" fmla="*/ 208144 w 416288"/>
                <a:gd name="connsiteY1" fmla="*/ 416285 h 416284"/>
                <a:gd name="connsiteX2" fmla="*/ 416288 w 416288"/>
                <a:gd name="connsiteY2" fmla="*/ 208142 h 416284"/>
                <a:gd name="connsiteX3" fmla="*/ 208144 w 416288"/>
                <a:gd name="connsiteY3" fmla="*/ 0 h 416284"/>
                <a:gd name="connsiteX4" fmla="*/ 0 w 416288"/>
                <a:gd name="connsiteY4" fmla="*/ 208142 h 41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88" h="416284">
                  <a:moveTo>
                    <a:pt x="0" y="208142"/>
                  </a:moveTo>
                  <a:cubicBezTo>
                    <a:pt x="0" y="323141"/>
                    <a:pt x="93144" y="416285"/>
                    <a:pt x="208144" y="416285"/>
                  </a:cubicBezTo>
                  <a:cubicBezTo>
                    <a:pt x="323144" y="416285"/>
                    <a:pt x="416288" y="323141"/>
                    <a:pt x="416288" y="208142"/>
                  </a:cubicBezTo>
                  <a:cubicBezTo>
                    <a:pt x="416288" y="93144"/>
                    <a:pt x="323144" y="0"/>
                    <a:pt x="208144" y="0"/>
                  </a:cubicBezTo>
                  <a:cubicBezTo>
                    <a:pt x="93144" y="0"/>
                    <a:pt x="0" y="93144"/>
                    <a:pt x="0" y="208142"/>
                  </a:cubicBezTo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B588115E-70E4-FF9A-E7CA-8B397F6D759A}"/>
                </a:ext>
              </a:extLst>
            </p:cNvPr>
            <p:cNvSpPr/>
            <p:nvPr/>
          </p:nvSpPr>
          <p:spPr>
            <a:xfrm>
              <a:off x="3370892" y="2245821"/>
              <a:ext cx="507090" cy="618442"/>
            </a:xfrm>
            <a:custGeom>
              <a:avLst/>
              <a:gdLst>
                <a:gd name="connsiteX0" fmla="*/ 0 w 507090"/>
                <a:gd name="connsiteY0" fmla="*/ 0 h 618442"/>
                <a:gd name="connsiteX1" fmla="*/ 507091 w 507090"/>
                <a:gd name="connsiteY1" fmla="*/ 0 h 618442"/>
                <a:gd name="connsiteX2" fmla="*/ 507091 w 507090"/>
                <a:gd name="connsiteY2" fmla="*/ 618443 h 618442"/>
                <a:gd name="connsiteX3" fmla="*/ 189151 w 507090"/>
                <a:gd name="connsiteY3" fmla="*/ 618443 h 618442"/>
                <a:gd name="connsiteX4" fmla="*/ 0 w 507090"/>
                <a:gd name="connsiteY4" fmla="*/ 429294 h 618442"/>
                <a:gd name="connsiteX5" fmla="*/ 0 w 507090"/>
                <a:gd name="connsiteY5" fmla="*/ 0 h 618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090" h="618442">
                  <a:moveTo>
                    <a:pt x="0" y="0"/>
                  </a:moveTo>
                  <a:lnTo>
                    <a:pt x="507091" y="0"/>
                  </a:lnTo>
                  <a:lnTo>
                    <a:pt x="507091" y="618443"/>
                  </a:lnTo>
                  <a:lnTo>
                    <a:pt x="189151" y="618443"/>
                  </a:lnTo>
                  <a:cubicBezTo>
                    <a:pt x="84559" y="618443"/>
                    <a:pt x="0" y="533625"/>
                    <a:pt x="0" y="4292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FD9F92A9-824E-066B-C1D4-B2FDE8A8F0AA}"/>
                </a:ext>
              </a:extLst>
            </p:cNvPr>
            <p:cNvSpPr/>
            <p:nvPr/>
          </p:nvSpPr>
          <p:spPr>
            <a:xfrm>
              <a:off x="3356842" y="2011140"/>
              <a:ext cx="416288" cy="416284"/>
            </a:xfrm>
            <a:custGeom>
              <a:avLst/>
              <a:gdLst>
                <a:gd name="connsiteX0" fmla="*/ 0 w 416288"/>
                <a:gd name="connsiteY0" fmla="*/ 208142 h 416284"/>
                <a:gd name="connsiteX1" fmla="*/ 208144 w 416288"/>
                <a:gd name="connsiteY1" fmla="*/ 416285 h 416284"/>
                <a:gd name="connsiteX2" fmla="*/ 416288 w 416288"/>
                <a:gd name="connsiteY2" fmla="*/ 208142 h 416284"/>
                <a:gd name="connsiteX3" fmla="*/ 208144 w 416288"/>
                <a:gd name="connsiteY3" fmla="*/ 0 h 416284"/>
                <a:gd name="connsiteX4" fmla="*/ 0 w 416288"/>
                <a:gd name="connsiteY4" fmla="*/ 208142 h 41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88" h="416284">
                  <a:moveTo>
                    <a:pt x="0" y="208142"/>
                  </a:moveTo>
                  <a:cubicBezTo>
                    <a:pt x="0" y="323141"/>
                    <a:pt x="93144" y="416285"/>
                    <a:pt x="208144" y="416285"/>
                  </a:cubicBezTo>
                  <a:cubicBezTo>
                    <a:pt x="323144" y="416285"/>
                    <a:pt x="416288" y="323141"/>
                    <a:pt x="416288" y="208142"/>
                  </a:cubicBezTo>
                  <a:cubicBezTo>
                    <a:pt x="416288" y="93144"/>
                    <a:pt x="323144" y="0"/>
                    <a:pt x="208144" y="0"/>
                  </a:cubicBezTo>
                  <a:cubicBezTo>
                    <a:pt x="93144" y="0"/>
                    <a:pt x="0" y="93144"/>
                    <a:pt x="0" y="208142"/>
                  </a:cubicBezTo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AA02B1C6-3431-D012-5EBD-F74500D0C60F}"/>
                </a:ext>
              </a:extLst>
            </p:cNvPr>
            <p:cNvSpPr/>
            <p:nvPr/>
          </p:nvSpPr>
          <p:spPr>
            <a:xfrm>
              <a:off x="3607656" y="2563802"/>
              <a:ext cx="841637" cy="308006"/>
            </a:xfrm>
            <a:custGeom>
              <a:avLst/>
              <a:gdLst>
                <a:gd name="connsiteX0" fmla="*/ 18993 w 841637"/>
                <a:gd name="connsiteY0" fmla="*/ 308006 h 308006"/>
                <a:gd name="connsiteX1" fmla="*/ 604138 w 841637"/>
                <a:gd name="connsiteY1" fmla="*/ 308006 h 308006"/>
                <a:gd name="connsiteX2" fmla="*/ 802395 w 841637"/>
                <a:gd name="connsiteY2" fmla="*/ 158404 h 308006"/>
                <a:gd name="connsiteX3" fmla="*/ 840902 w 841637"/>
                <a:gd name="connsiteY3" fmla="*/ 24152 h 308006"/>
                <a:gd name="connsiteX4" fmla="*/ 827893 w 841637"/>
                <a:gd name="connsiteY4" fmla="*/ 736 h 308006"/>
                <a:gd name="connsiteX5" fmla="*/ 804477 w 841637"/>
                <a:gd name="connsiteY5" fmla="*/ 13745 h 308006"/>
                <a:gd name="connsiteX6" fmla="*/ 765970 w 841637"/>
                <a:gd name="connsiteY6" fmla="*/ 147997 h 308006"/>
                <a:gd name="connsiteX7" fmla="*/ 604138 w 841637"/>
                <a:gd name="connsiteY7" fmla="*/ 270020 h 308006"/>
                <a:gd name="connsiteX8" fmla="*/ 18993 w 841637"/>
                <a:gd name="connsiteY8" fmla="*/ 270020 h 308006"/>
                <a:gd name="connsiteX9" fmla="*/ 0 w 841637"/>
                <a:gd name="connsiteY9" fmla="*/ 289013 h 308006"/>
                <a:gd name="connsiteX10" fmla="*/ 18993 w 841637"/>
                <a:gd name="connsiteY10" fmla="*/ 308006 h 30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1637" h="308006">
                  <a:moveTo>
                    <a:pt x="18993" y="308006"/>
                  </a:moveTo>
                  <a:lnTo>
                    <a:pt x="604138" y="308006"/>
                  </a:lnTo>
                  <a:cubicBezTo>
                    <a:pt x="695721" y="308006"/>
                    <a:pt x="777158" y="246604"/>
                    <a:pt x="802395" y="158404"/>
                  </a:cubicBezTo>
                  <a:lnTo>
                    <a:pt x="840902" y="24152"/>
                  </a:lnTo>
                  <a:cubicBezTo>
                    <a:pt x="843764" y="14005"/>
                    <a:pt x="838040" y="3598"/>
                    <a:pt x="827893" y="736"/>
                  </a:cubicBezTo>
                  <a:cubicBezTo>
                    <a:pt x="818006" y="-2126"/>
                    <a:pt x="807339" y="3598"/>
                    <a:pt x="804477" y="13745"/>
                  </a:cubicBezTo>
                  <a:lnTo>
                    <a:pt x="765970" y="147997"/>
                  </a:lnTo>
                  <a:cubicBezTo>
                    <a:pt x="745416" y="219806"/>
                    <a:pt x="678810" y="270020"/>
                    <a:pt x="604138" y="270020"/>
                  </a:cubicBezTo>
                  <a:lnTo>
                    <a:pt x="18993" y="270020"/>
                  </a:lnTo>
                  <a:cubicBezTo>
                    <a:pt x="8586" y="270020"/>
                    <a:pt x="0" y="278606"/>
                    <a:pt x="0" y="289013"/>
                  </a:cubicBezTo>
                  <a:cubicBezTo>
                    <a:pt x="0" y="299420"/>
                    <a:pt x="8326" y="308006"/>
                    <a:pt x="18993" y="308006"/>
                  </a:cubicBezTo>
                </a:path>
              </a:pathLst>
            </a:custGeom>
            <a:solidFill>
              <a:schemeClr val="accent1">
                <a:lumMod val="9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D3C3B9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DE11D1B3-92C1-DEEB-3CCA-91D5C5676417}"/>
                </a:ext>
              </a:extLst>
            </p:cNvPr>
            <p:cNvSpPr/>
            <p:nvPr/>
          </p:nvSpPr>
          <p:spPr>
            <a:xfrm>
              <a:off x="4352811" y="2011140"/>
              <a:ext cx="273189" cy="796925"/>
            </a:xfrm>
            <a:custGeom>
              <a:avLst/>
              <a:gdLst>
                <a:gd name="connsiteX0" fmla="*/ 7545 w 273189"/>
                <a:gd name="connsiteY0" fmla="*/ 796925 h 796925"/>
                <a:gd name="connsiteX1" fmla="*/ 0 w 273189"/>
                <a:gd name="connsiteY1" fmla="*/ 778973 h 796925"/>
                <a:gd name="connsiteX2" fmla="*/ 195916 w 273189"/>
                <a:gd name="connsiteY2" fmla="*/ 0 h 796925"/>
                <a:gd name="connsiteX3" fmla="*/ 219852 w 273189"/>
                <a:gd name="connsiteY3" fmla="*/ 0 h 796925"/>
                <a:gd name="connsiteX4" fmla="*/ 251074 w 273189"/>
                <a:gd name="connsiteY4" fmla="*/ 29140 h 796925"/>
                <a:gd name="connsiteX5" fmla="*/ 273189 w 273189"/>
                <a:gd name="connsiteY5" fmla="*/ 358005 h 796925"/>
                <a:gd name="connsiteX6" fmla="*/ 208925 w 273189"/>
                <a:gd name="connsiteY6" fmla="*/ 613240 h 796925"/>
                <a:gd name="connsiteX7" fmla="*/ 7545 w 273189"/>
                <a:gd name="connsiteY7" fmla="*/ 796925 h 7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3189" h="796925">
                  <a:moveTo>
                    <a:pt x="7545" y="796925"/>
                  </a:moveTo>
                  <a:lnTo>
                    <a:pt x="0" y="778973"/>
                  </a:lnTo>
                  <a:lnTo>
                    <a:pt x="195916" y="0"/>
                  </a:lnTo>
                  <a:lnTo>
                    <a:pt x="219852" y="0"/>
                  </a:lnTo>
                  <a:cubicBezTo>
                    <a:pt x="236244" y="0"/>
                    <a:pt x="250033" y="12749"/>
                    <a:pt x="251074" y="29140"/>
                  </a:cubicBezTo>
                  <a:lnTo>
                    <a:pt x="273189" y="358005"/>
                  </a:lnTo>
                  <a:lnTo>
                    <a:pt x="208925" y="613240"/>
                  </a:lnTo>
                  <a:lnTo>
                    <a:pt x="7545" y="796925"/>
                  </a:lnTo>
                  <a:close/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E4814341-4D2D-FA57-D1F7-A60E19DEE256}"/>
                </a:ext>
              </a:extLst>
            </p:cNvPr>
            <p:cNvSpPr/>
            <p:nvPr/>
          </p:nvSpPr>
          <p:spPr>
            <a:xfrm>
              <a:off x="3566792" y="3424427"/>
              <a:ext cx="885667" cy="930656"/>
            </a:xfrm>
            <a:custGeom>
              <a:avLst/>
              <a:gdLst>
                <a:gd name="connsiteX0" fmla="*/ 442581 w 885667"/>
                <a:gd name="connsiteY0" fmla="*/ 0 h 930656"/>
                <a:gd name="connsiteX1" fmla="*/ 884627 w 885667"/>
                <a:gd name="connsiteY1" fmla="*/ 424871 h 930656"/>
                <a:gd name="connsiteX2" fmla="*/ 885668 w 885667"/>
                <a:gd name="connsiteY2" fmla="*/ 481589 h 930656"/>
                <a:gd name="connsiteX3" fmla="*/ 885668 w 885667"/>
                <a:gd name="connsiteY3" fmla="*/ 486533 h 930656"/>
                <a:gd name="connsiteX4" fmla="*/ 434515 w 885667"/>
                <a:gd name="connsiteY4" fmla="*/ 930657 h 930656"/>
                <a:gd name="connsiteX5" fmla="*/ 402513 w 885667"/>
                <a:gd name="connsiteY5" fmla="*/ 930657 h 930656"/>
                <a:gd name="connsiteX6" fmla="*/ 58555 w 885667"/>
                <a:gd name="connsiteY6" fmla="*/ 703261 h 930656"/>
                <a:gd name="connsiteX7" fmla="*/ 6519 w 885667"/>
                <a:gd name="connsiteY7" fmla="*/ 516453 h 930656"/>
                <a:gd name="connsiteX8" fmla="*/ 442581 w 885667"/>
                <a:gd name="connsiteY8" fmla="*/ 260 h 930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5667" h="930656">
                  <a:moveTo>
                    <a:pt x="442581" y="0"/>
                  </a:moveTo>
                  <a:cubicBezTo>
                    <a:pt x="680125" y="0"/>
                    <a:pt x="875260" y="187588"/>
                    <a:pt x="884627" y="424871"/>
                  </a:cubicBezTo>
                  <a:cubicBezTo>
                    <a:pt x="885407" y="443604"/>
                    <a:pt x="885668" y="462596"/>
                    <a:pt x="885668" y="481589"/>
                  </a:cubicBezTo>
                  <a:cubicBezTo>
                    <a:pt x="885668" y="483151"/>
                    <a:pt x="885668" y="484972"/>
                    <a:pt x="885668" y="486533"/>
                  </a:cubicBezTo>
                  <a:cubicBezTo>
                    <a:pt x="884627" y="732921"/>
                    <a:pt x="680906" y="930657"/>
                    <a:pt x="434515" y="930657"/>
                  </a:cubicBezTo>
                  <a:lnTo>
                    <a:pt x="402513" y="930657"/>
                  </a:lnTo>
                  <a:cubicBezTo>
                    <a:pt x="252650" y="930657"/>
                    <a:pt x="114494" y="842196"/>
                    <a:pt x="58555" y="703261"/>
                  </a:cubicBezTo>
                  <a:cubicBezTo>
                    <a:pt x="34619" y="643680"/>
                    <a:pt x="17707" y="580977"/>
                    <a:pt x="6519" y="516453"/>
                  </a:cubicBezTo>
                  <a:cubicBezTo>
                    <a:pt x="-40053" y="246649"/>
                    <a:pt x="168872" y="260"/>
                    <a:pt x="442581" y="260"/>
                  </a:cubicBezTo>
                  <a:close/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6E83A29C-45EF-5F24-5252-093F8279C4AE}"/>
                </a:ext>
              </a:extLst>
            </p:cNvPr>
            <p:cNvSpPr/>
            <p:nvPr/>
          </p:nvSpPr>
          <p:spPr>
            <a:xfrm>
              <a:off x="4084472" y="2011140"/>
              <a:ext cx="541528" cy="1995565"/>
            </a:xfrm>
            <a:custGeom>
              <a:avLst/>
              <a:gdLst>
                <a:gd name="connsiteX0" fmla="*/ 488191 w 541528"/>
                <a:gd name="connsiteY0" fmla="*/ 0 h 1995565"/>
                <a:gd name="connsiteX1" fmla="*/ 74505 w 541528"/>
                <a:gd name="connsiteY1" fmla="*/ 0 h 1995565"/>
                <a:gd name="connsiteX2" fmla="*/ 9460 w 541528"/>
                <a:gd name="connsiteY2" fmla="*/ 426692 h 1995565"/>
                <a:gd name="connsiteX3" fmla="*/ 7379 w 541528"/>
                <a:gd name="connsiteY3" fmla="*/ 661633 h 1995565"/>
                <a:gd name="connsiteX4" fmla="*/ 123939 w 541528"/>
                <a:gd name="connsiteY4" fmla="*/ 1729923 h 1995565"/>
                <a:gd name="connsiteX5" fmla="*/ 496517 w 541528"/>
                <a:gd name="connsiteY5" fmla="*/ 1995565 h 1995565"/>
                <a:gd name="connsiteX6" fmla="*/ 445522 w 541528"/>
                <a:gd name="connsiteY6" fmla="*/ 1345641 h 1995565"/>
                <a:gd name="connsiteX7" fmla="*/ 541528 w 541528"/>
                <a:gd name="connsiteY7" fmla="*/ 235201 h 1995565"/>
                <a:gd name="connsiteX8" fmla="*/ 488191 w 541528"/>
                <a:gd name="connsiteY8" fmla="*/ 520 h 199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528" h="1995565">
                  <a:moveTo>
                    <a:pt x="488191" y="0"/>
                  </a:moveTo>
                  <a:lnTo>
                    <a:pt x="74505" y="0"/>
                  </a:lnTo>
                  <a:cubicBezTo>
                    <a:pt x="74505" y="0"/>
                    <a:pt x="9460" y="426692"/>
                    <a:pt x="9460" y="426692"/>
                  </a:cubicBezTo>
                  <a:cubicBezTo>
                    <a:pt x="-2508" y="504485"/>
                    <a:pt x="-3029" y="583579"/>
                    <a:pt x="7379" y="661633"/>
                  </a:cubicBezTo>
                  <a:lnTo>
                    <a:pt x="123939" y="1729923"/>
                  </a:lnTo>
                  <a:lnTo>
                    <a:pt x="496517" y="1995565"/>
                  </a:lnTo>
                  <a:lnTo>
                    <a:pt x="445522" y="1345641"/>
                  </a:lnTo>
                  <a:lnTo>
                    <a:pt x="541528" y="235201"/>
                  </a:lnTo>
                  <a:lnTo>
                    <a:pt x="488191" y="52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D7BC2F61-F8EA-82A6-5367-FC5476811FF8}"/>
                </a:ext>
              </a:extLst>
            </p:cNvPr>
            <p:cNvSpPr/>
            <p:nvPr/>
          </p:nvSpPr>
          <p:spPr>
            <a:xfrm>
              <a:off x="3356582" y="2010880"/>
              <a:ext cx="407181" cy="1995825"/>
            </a:xfrm>
            <a:custGeom>
              <a:avLst/>
              <a:gdLst>
                <a:gd name="connsiteX0" fmla="*/ 65045 w 407181"/>
                <a:gd name="connsiteY0" fmla="*/ 936381 h 1995825"/>
                <a:gd name="connsiteX1" fmla="*/ 40588 w 407181"/>
                <a:gd name="connsiteY1" fmla="*/ 809934 h 1995825"/>
                <a:gd name="connsiteX2" fmla="*/ 9627 w 407181"/>
                <a:gd name="connsiteY2" fmla="*/ 598670 h 1995825"/>
                <a:gd name="connsiteX3" fmla="*/ 781 w 407181"/>
                <a:gd name="connsiteY3" fmla="*/ 227916 h 1995825"/>
                <a:gd name="connsiteX4" fmla="*/ 0 w 407181"/>
                <a:gd name="connsiteY4" fmla="*/ 208142 h 1995825"/>
                <a:gd name="connsiteX5" fmla="*/ 0 w 407181"/>
                <a:gd name="connsiteY5" fmla="*/ 205541 h 1995825"/>
                <a:gd name="connsiteX6" fmla="*/ 0 w 407181"/>
                <a:gd name="connsiteY6" fmla="*/ 200077 h 1995825"/>
                <a:gd name="connsiteX7" fmla="*/ 260 w 407181"/>
                <a:gd name="connsiteY7" fmla="*/ 199296 h 1995825"/>
                <a:gd name="connsiteX8" fmla="*/ 182386 w 407181"/>
                <a:gd name="connsiteY8" fmla="*/ 1821 h 1995825"/>
                <a:gd name="connsiteX9" fmla="*/ 182907 w 407181"/>
                <a:gd name="connsiteY9" fmla="*/ 1301 h 1995825"/>
                <a:gd name="connsiteX10" fmla="*/ 185508 w 407181"/>
                <a:gd name="connsiteY10" fmla="*/ 1301 h 1995825"/>
                <a:gd name="connsiteX11" fmla="*/ 208144 w 407181"/>
                <a:gd name="connsiteY11" fmla="*/ 0 h 1995825"/>
                <a:gd name="connsiteX12" fmla="*/ 227397 w 407181"/>
                <a:gd name="connsiteY12" fmla="*/ 1041 h 1995825"/>
                <a:gd name="connsiteX13" fmla="*/ 407182 w 407181"/>
                <a:gd name="connsiteY13" fmla="*/ 0 h 1995825"/>
                <a:gd name="connsiteX14" fmla="*/ 222714 w 407181"/>
                <a:gd name="connsiteY14" fmla="*/ 552878 h 1995825"/>
                <a:gd name="connsiteX15" fmla="*/ 280214 w 407181"/>
                <a:gd name="connsiteY15" fmla="*/ 1009230 h 1995825"/>
                <a:gd name="connsiteX16" fmla="*/ 304151 w 407181"/>
                <a:gd name="connsiteY16" fmla="*/ 1325347 h 1995825"/>
                <a:gd name="connsiteX17" fmla="*/ 307533 w 407181"/>
                <a:gd name="connsiteY17" fmla="*/ 1818644 h 1995825"/>
                <a:gd name="connsiteX18" fmla="*/ 131651 w 407181"/>
                <a:gd name="connsiteY18" fmla="*/ 1995825 h 1995825"/>
                <a:gd name="connsiteX19" fmla="*/ 111097 w 407181"/>
                <a:gd name="connsiteY19" fmla="*/ 1995825 h 1995825"/>
                <a:gd name="connsiteX20" fmla="*/ 48133 w 407181"/>
                <a:gd name="connsiteY20" fmla="*/ 1927138 h 1995825"/>
                <a:gd name="connsiteX21" fmla="*/ 85079 w 407181"/>
                <a:gd name="connsiteY21" fmla="*/ 1503308 h 1995825"/>
                <a:gd name="connsiteX22" fmla="*/ 64785 w 407181"/>
                <a:gd name="connsiteY22" fmla="*/ 936641 h 199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7181" h="1995825">
                  <a:moveTo>
                    <a:pt x="65045" y="936381"/>
                  </a:moveTo>
                  <a:lnTo>
                    <a:pt x="40588" y="809934"/>
                  </a:lnTo>
                  <a:cubicBezTo>
                    <a:pt x="18993" y="741767"/>
                    <a:pt x="8586" y="670479"/>
                    <a:pt x="9627" y="598670"/>
                  </a:cubicBezTo>
                  <a:lnTo>
                    <a:pt x="781" y="227916"/>
                  </a:lnTo>
                  <a:cubicBezTo>
                    <a:pt x="260" y="221932"/>
                    <a:pt x="0" y="215427"/>
                    <a:pt x="0" y="208142"/>
                  </a:cubicBezTo>
                  <a:cubicBezTo>
                    <a:pt x="0" y="207102"/>
                    <a:pt x="0" y="206321"/>
                    <a:pt x="0" y="205541"/>
                  </a:cubicBezTo>
                  <a:lnTo>
                    <a:pt x="0" y="200077"/>
                  </a:lnTo>
                  <a:cubicBezTo>
                    <a:pt x="0" y="200077"/>
                    <a:pt x="260" y="199296"/>
                    <a:pt x="260" y="199296"/>
                  </a:cubicBezTo>
                  <a:cubicBezTo>
                    <a:pt x="4683" y="97046"/>
                    <a:pt x="82477" y="14050"/>
                    <a:pt x="182386" y="1821"/>
                  </a:cubicBezTo>
                  <a:lnTo>
                    <a:pt x="182907" y="1301"/>
                  </a:lnTo>
                  <a:lnTo>
                    <a:pt x="185508" y="1301"/>
                  </a:lnTo>
                  <a:cubicBezTo>
                    <a:pt x="193054" y="520"/>
                    <a:pt x="200599" y="0"/>
                    <a:pt x="208144" y="0"/>
                  </a:cubicBezTo>
                  <a:cubicBezTo>
                    <a:pt x="215429" y="0"/>
                    <a:pt x="221673" y="260"/>
                    <a:pt x="227397" y="1041"/>
                  </a:cubicBezTo>
                  <a:lnTo>
                    <a:pt x="407182" y="0"/>
                  </a:lnTo>
                  <a:lnTo>
                    <a:pt x="222714" y="552878"/>
                  </a:lnTo>
                  <a:lnTo>
                    <a:pt x="280214" y="1009230"/>
                  </a:lnTo>
                  <a:cubicBezTo>
                    <a:pt x="292182" y="1104195"/>
                    <a:pt x="297126" y="1216852"/>
                    <a:pt x="304151" y="1325347"/>
                  </a:cubicBezTo>
                  <a:lnTo>
                    <a:pt x="307533" y="1818644"/>
                  </a:lnTo>
                  <a:cubicBezTo>
                    <a:pt x="308313" y="1916211"/>
                    <a:pt x="229219" y="1995825"/>
                    <a:pt x="131651" y="1995825"/>
                  </a:cubicBezTo>
                  <a:lnTo>
                    <a:pt x="111097" y="1995825"/>
                  </a:lnTo>
                  <a:cubicBezTo>
                    <a:pt x="73891" y="1995825"/>
                    <a:pt x="44751" y="1964084"/>
                    <a:pt x="48133" y="1927138"/>
                  </a:cubicBezTo>
                  <a:lnTo>
                    <a:pt x="85079" y="1503308"/>
                  </a:lnTo>
                  <a:cubicBezTo>
                    <a:pt x="107715" y="1314419"/>
                    <a:pt x="100690" y="1123448"/>
                    <a:pt x="64785" y="936641"/>
                  </a:cubicBezTo>
                </a:path>
              </a:pathLst>
            </a:custGeom>
            <a:solidFill>
              <a:schemeClr val="bg2"/>
            </a:solidFill>
            <a:ln w="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0E6AAFA-1134-61EF-C1AF-5BF7698BDA4F}"/>
                </a:ext>
              </a:extLst>
            </p:cNvPr>
            <p:cNvSpPr/>
            <p:nvPr/>
          </p:nvSpPr>
          <p:spPr>
            <a:xfrm>
              <a:off x="4172677" y="3721720"/>
              <a:ext cx="294182" cy="294394"/>
            </a:xfrm>
            <a:custGeom>
              <a:avLst/>
              <a:gdLst>
                <a:gd name="connsiteX0" fmla="*/ 53687 w 294182"/>
                <a:gd name="connsiteY0" fmla="*/ 33653 h 294394"/>
                <a:gd name="connsiteX1" fmla="*/ 33393 w 294182"/>
                <a:gd name="connsiteY1" fmla="*/ 240754 h 294394"/>
                <a:gd name="connsiteX2" fmla="*/ 240496 w 294182"/>
                <a:gd name="connsiteY2" fmla="*/ 260788 h 294394"/>
                <a:gd name="connsiteX3" fmla="*/ 260790 w 294182"/>
                <a:gd name="connsiteY3" fmla="*/ 53686 h 294394"/>
                <a:gd name="connsiteX4" fmla="*/ 53687 w 294182"/>
                <a:gd name="connsiteY4" fmla="*/ 33392 h 29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82" h="294394">
                  <a:moveTo>
                    <a:pt x="53687" y="33653"/>
                  </a:moveTo>
                  <a:cubicBezTo>
                    <a:pt x="-9017" y="85168"/>
                    <a:pt x="-18123" y="178051"/>
                    <a:pt x="33393" y="240754"/>
                  </a:cubicBezTo>
                  <a:cubicBezTo>
                    <a:pt x="84908" y="303457"/>
                    <a:pt x="177793" y="312563"/>
                    <a:pt x="240496" y="260788"/>
                  </a:cubicBezTo>
                  <a:cubicBezTo>
                    <a:pt x="303199" y="209013"/>
                    <a:pt x="312306" y="116389"/>
                    <a:pt x="260790" y="53686"/>
                  </a:cubicBezTo>
                  <a:cubicBezTo>
                    <a:pt x="209274" y="-9017"/>
                    <a:pt x="116390" y="-18123"/>
                    <a:pt x="53687" y="33392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980BA061-78BC-4396-F7D4-2F3DA4C18F4D}"/>
                </a:ext>
              </a:extLst>
            </p:cNvPr>
            <p:cNvSpPr/>
            <p:nvPr/>
          </p:nvSpPr>
          <p:spPr>
            <a:xfrm rot="19233599">
              <a:off x="4189081" y="3768302"/>
              <a:ext cx="148562" cy="294261"/>
            </a:xfrm>
            <a:custGeom>
              <a:avLst/>
              <a:gdLst>
                <a:gd name="connsiteX0" fmla="*/ 0 w 148562"/>
                <a:gd name="connsiteY0" fmla="*/ 0 h 294261"/>
                <a:gd name="connsiteX1" fmla="*/ 148563 w 148562"/>
                <a:gd name="connsiteY1" fmla="*/ 0 h 294261"/>
                <a:gd name="connsiteX2" fmla="*/ 148563 w 148562"/>
                <a:gd name="connsiteY2" fmla="*/ 294261 h 294261"/>
                <a:gd name="connsiteX3" fmla="*/ 0 w 148562"/>
                <a:gd name="connsiteY3" fmla="*/ 294261 h 29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562" h="294261">
                  <a:moveTo>
                    <a:pt x="0" y="0"/>
                  </a:moveTo>
                  <a:lnTo>
                    <a:pt x="148563" y="0"/>
                  </a:lnTo>
                  <a:lnTo>
                    <a:pt x="148563" y="294261"/>
                  </a:lnTo>
                  <a:lnTo>
                    <a:pt x="0" y="294261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B4608E3D-2FC7-78A5-62EE-4F1732C47EEF}"/>
                </a:ext>
              </a:extLst>
            </p:cNvPr>
            <p:cNvSpPr/>
            <p:nvPr/>
          </p:nvSpPr>
          <p:spPr>
            <a:xfrm>
              <a:off x="4213094" y="3142654"/>
              <a:ext cx="908028" cy="833089"/>
            </a:xfrm>
            <a:custGeom>
              <a:avLst/>
              <a:gdLst>
                <a:gd name="connsiteX0" fmla="*/ 0 w 908028"/>
                <a:gd name="connsiteY0" fmla="*/ 603613 h 833089"/>
                <a:gd name="connsiteX1" fmla="*/ 671525 w 908028"/>
                <a:gd name="connsiteY1" fmla="*/ 0 h 833089"/>
                <a:gd name="connsiteX2" fmla="*/ 908029 w 908028"/>
                <a:gd name="connsiteY2" fmla="*/ 286976 h 833089"/>
                <a:gd name="connsiteX3" fmla="*/ 190192 w 908028"/>
                <a:gd name="connsiteY3" fmla="*/ 833090 h 833089"/>
                <a:gd name="connsiteX4" fmla="*/ 0 w 908028"/>
                <a:gd name="connsiteY4" fmla="*/ 603613 h 83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8028" h="833089">
                  <a:moveTo>
                    <a:pt x="0" y="603613"/>
                  </a:moveTo>
                  <a:lnTo>
                    <a:pt x="671525" y="0"/>
                  </a:lnTo>
                  <a:lnTo>
                    <a:pt x="908029" y="286976"/>
                  </a:lnTo>
                  <a:lnTo>
                    <a:pt x="190192" y="833090"/>
                  </a:lnTo>
                  <a:lnTo>
                    <a:pt x="0" y="603613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A15811EE-5414-66C1-BF5A-D072D23B17B1}"/>
                </a:ext>
              </a:extLst>
            </p:cNvPr>
            <p:cNvSpPr/>
            <p:nvPr/>
          </p:nvSpPr>
          <p:spPr>
            <a:xfrm>
              <a:off x="4369202" y="2138367"/>
              <a:ext cx="806037" cy="1221535"/>
            </a:xfrm>
            <a:custGeom>
              <a:avLst/>
              <a:gdLst>
                <a:gd name="connsiteX0" fmla="*/ 806038 w 806037"/>
                <a:gd name="connsiteY0" fmla="*/ 1078178 h 1221535"/>
                <a:gd name="connsiteX1" fmla="*/ 384286 w 806037"/>
                <a:gd name="connsiteY1" fmla="*/ 0 h 1221535"/>
                <a:gd name="connsiteX2" fmla="*/ 0 w 806037"/>
                <a:gd name="connsiteY2" fmla="*/ 160010 h 1221535"/>
                <a:gd name="connsiteX3" fmla="*/ 461820 w 806037"/>
                <a:gd name="connsiteY3" fmla="*/ 1221536 h 1221535"/>
                <a:gd name="connsiteX4" fmla="*/ 806038 w 806037"/>
                <a:gd name="connsiteY4" fmla="*/ 1078178 h 1221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6037" h="1221535">
                  <a:moveTo>
                    <a:pt x="806038" y="1078178"/>
                  </a:moveTo>
                  <a:lnTo>
                    <a:pt x="384286" y="0"/>
                  </a:lnTo>
                  <a:lnTo>
                    <a:pt x="0" y="160010"/>
                  </a:lnTo>
                  <a:lnTo>
                    <a:pt x="461820" y="1221536"/>
                  </a:lnTo>
                  <a:lnTo>
                    <a:pt x="806038" y="107817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7B2F9368-E205-38ED-86CC-5F2691A06702}"/>
                </a:ext>
              </a:extLst>
            </p:cNvPr>
            <p:cNvSpPr/>
            <p:nvPr/>
          </p:nvSpPr>
          <p:spPr>
            <a:xfrm>
              <a:off x="4353133" y="2010161"/>
              <a:ext cx="416424" cy="416420"/>
            </a:xfrm>
            <a:custGeom>
              <a:avLst/>
              <a:gdLst>
                <a:gd name="connsiteX0" fmla="*/ 16069 w 416424"/>
                <a:gd name="connsiteY0" fmla="*/ 288215 h 416420"/>
                <a:gd name="connsiteX1" fmla="*/ 288218 w 416424"/>
                <a:gd name="connsiteY1" fmla="*/ 400352 h 416420"/>
                <a:gd name="connsiteX2" fmla="*/ 400355 w 416424"/>
                <a:gd name="connsiteY2" fmla="*/ 128206 h 416420"/>
                <a:gd name="connsiteX3" fmla="*/ 128207 w 416424"/>
                <a:gd name="connsiteY3" fmla="*/ 16069 h 416420"/>
                <a:gd name="connsiteX4" fmla="*/ 16069 w 416424"/>
                <a:gd name="connsiteY4" fmla="*/ 288215 h 41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424" h="416420">
                  <a:moveTo>
                    <a:pt x="16069" y="288215"/>
                  </a:moveTo>
                  <a:cubicBezTo>
                    <a:pt x="60300" y="394368"/>
                    <a:pt x="182064" y="444582"/>
                    <a:pt x="288218" y="400352"/>
                  </a:cubicBezTo>
                  <a:cubicBezTo>
                    <a:pt x="394371" y="356122"/>
                    <a:pt x="444586" y="234358"/>
                    <a:pt x="400355" y="128206"/>
                  </a:cubicBezTo>
                  <a:cubicBezTo>
                    <a:pt x="356125" y="22053"/>
                    <a:pt x="234360" y="-28161"/>
                    <a:pt x="128207" y="16069"/>
                  </a:cubicBezTo>
                  <a:cubicBezTo>
                    <a:pt x="22053" y="60299"/>
                    <a:pt x="-28161" y="182063"/>
                    <a:pt x="16069" y="288215"/>
                  </a:cubicBezTo>
                </a:path>
              </a:pathLst>
            </a:custGeom>
            <a:solidFill>
              <a:schemeClr val="bg2"/>
            </a:solidFill>
            <a:ln w="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B8725A26-2457-E0DF-C875-51ED100CCD08}"/>
                </a:ext>
              </a:extLst>
            </p:cNvPr>
            <p:cNvSpPr/>
            <p:nvPr/>
          </p:nvSpPr>
          <p:spPr>
            <a:xfrm>
              <a:off x="4815892" y="3099945"/>
              <a:ext cx="372917" cy="372914"/>
            </a:xfrm>
            <a:custGeom>
              <a:avLst/>
              <a:gdLst>
                <a:gd name="connsiteX0" fmla="*/ 14350 w 372917"/>
                <a:gd name="connsiteY0" fmla="*/ 258136 h 372914"/>
                <a:gd name="connsiteX1" fmla="*/ 258138 w 372917"/>
                <a:gd name="connsiteY1" fmla="*/ 358565 h 372914"/>
                <a:gd name="connsiteX2" fmla="*/ 358568 w 372917"/>
                <a:gd name="connsiteY2" fmla="*/ 114778 h 372914"/>
                <a:gd name="connsiteX3" fmla="*/ 114779 w 372917"/>
                <a:gd name="connsiteY3" fmla="*/ 14350 h 372914"/>
                <a:gd name="connsiteX4" fmla="*/ 14350 w 372917"/>
                <a:gd name="connsiteY4" fmla="*/ 258136 h 37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917" h="372914">
                  <a:moveTo>
                    <a:pt x="14350" y="258136"/>
                  </a:moveTo>
                  <a:cubicBezTo>
                    <a:pt x="53897" y="353101"/>
                    <a:pt x="163173" y="398112"/>
                    <a:pt x="258138" y="358565"/>
                  </a:cubicBezTo>
                  <a:cubicBezTo>
                    <a:pt x="353104" y="319018"/>
                    <a:pt x="398115" y="209743"/>
                    <a:pt x="358568" y="114778"/>
                  </a:cubicBezTo>
                  <a:cubicBezTo>
                    <a:pt x="319021" y="19813"/>
                    <a:pt x="209745" y="-25198"/>
                    <a:pt x="114779" y="14350"/>
                  </a:cubicBezTo>
                  <a:cubicBezTo>
                    <a:pt x="19813" y="53897"/>
                    <a:pt x="-25198" y="163171"/>
                    <a:pt x="14350" y="258136"/>
                  </a:cubicBezTo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2EA88D7C-3C68-7675-0B03-5FB4BC341E82}"/>
                </a:ext>
              </a:extLst>
            </p:cNvPr>
            <p:cNvSpPr/>
            <p:nvPr/>
          </p:nvSpPr>
          <p:spPr>
            <a:xfrm>
              <a:off x="4208411" y="3142654"/>
              <a:ext cx="915313" cy="860668"/>
            </a:xfrm>
            <a:custGeom>
              <a:avLst/>
              <a:gdLst>
                <a:gd name="connsiteX0" fmla="*/ 0 w 915313"/>
                <a:gd name="connsiteY0" fmla="*/ 598149 h 860668"/>
                <a:gd name="connsiteX1" fmla="*/ 676208 w 915313"/>
                <a:gd name="connsiteY1" fmla="*/ 0 h 860668"/>
                <a:gd name="connsiteX2" fmla="*/ 915313 w 915313"/>
                <a:gd name="connsiteY2" fmla="*/ 285155 h 860668"/>
                <a:gd name="connsiteX3" fmla="*/ 217771 w 915313"/>
                <a:gd name="connsiteY3" fmla="*/ 860669 h 860668"/>
                <a:gd name="connsiteX4" fmla="*/ 0 w 915313"/>
                <a:gd name="connsiteY4" fmla="*/ 598149 h 86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313" h="860668">
                  <a:moveTo>
                    <a:pt x="0" y="598149"/>
                  </a:moveTo>
                  <a:lnTo>
                    <a:pt x="676208" y="0"/>
                  </a:lnTo>
                  <a:lnTo>
                    <a:pt x="915313" y="285155"/>
                  </a:lnTo>
                  <a:lnTo>
                    <a:pt x="217771" y="860669"/>
                  </a:lnTo>
                  <a:lnTo>
                    <a:pt x="0" y="598149"/>
                  </a:lnTo>
                  <a:close/>
                </a:path>
              </a:pathLst>
            </a:custGeom>
            <a:solidFill>
              <a:srgbClr val="FE8F1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97CA448D-EEC1-C774-758B-A071770FFD2F}"/>
                </a:ext>
              </a:extLst>
            </p:cNvPr>
            <p:cNvSpPr/>
            <p:nvPr/>
          </p:nvSpPr>
          <p:spPr>
            <a:xfrm>
              <a:off x="4416555" y="3897690"/>
              <a:ext cx="164693" cy="108754"/>
            </a:xfrm>
            <a:custGeom>
              <a:avLst/>
              <a:gdLst>
                <a:gd name="connsiteX0" fmla="*/ 164694 w 164693"/>
                <a:gd name="connsiteY0" fmla="*/ 108754 h 108754"/>
                <a:gd name="connsiteX1" fmla="*/ 9627 w 164693"/>
                <a:gd name="connsiteY1" fmla="*/ 105632 h 108754"/>
                <a:gd name="connsiteX2" fmla="*/ 0 w 164693"/>
                <a:gd name="connsiteY2" fmla="*/ 0 h 108754"/>
                <a:gd name="connsiteX3" fmla="*/ 103031 w 164693"/>
                <a:gd name="connsiteY3" fmla="*/ 0 h 108754"/>
                <a:gd name="connsiteX4" fmla="*/ 164694 w 164693"/>
                <a:gd name="connsiteY4" fmla="*/ 108754 h 10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693" h="108754">
                  <a:moveTo>
                    <a:pt x="164694" y="108754"/>
                  </a:moveTo>
                  <a:lnTo>
                    <a:pt x="9627" y="105632"/>
                  </a:lnTo>
                  <a:lnTo>
                    <a:pt x="0" y="0"/>
                  </a:lnTo>
                  <a:lnTo>
                    <a:pt x="103031" y="0"/>
                  </a:lnTo>
                  <a:lnTo>
                    <a:pt x="164694" y="108754"/>
                  </a:lnTo>
                  <a:close/>
                </a:path>
              </a:pathLst>
            </a:custGeom>
            <a:solidFill>
              <a:srgbClr val="FE8F1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43086CAD-D746-5109-B5C9-C302A53C66B2}"/>
                </a:ext>
              </a:extLst>
            </p:cNvPr>
            <p:cNvSpPr/>
            <p:nvPr/>
          </p:nvSpPr>
          <p:spPr>
            <a:xfrm>
              <a:off x="4069215" y="1458522"/>
              <a:ext cx="378301" cy="376217"/>
            </a:xfrm>
            <a:custGeom>
              <a:avLst/>
              <a:gdLst>
                <a:gd name="connsiteX0" fmla="*/ 0 w 378301"/>
                <a:gd name="connsiteY0" fmla="*/ 188109 h 376217"/>
                <a:gd name="connsiteX1" fmla="*/ 189151 w 378301"/>
                <a:gd name="connsiteY1" fmla="*/ 376217 h 376217"/>
                <a:gd name="connsiteX2" fmla="*/ 378302 w 378301"/>
                <a:gd name="connsiteY2" fmla="*/ 188109 h 376217"/>
                <a:gd name="connsiteX3" fmla="*/ 189151 w 378301"/>
                <a:gd name="connsiteY3" fmla="*/ 0 h 376217"/>
                <a:gd name="connsiteX4" fmla="*/ 0 w 378301"/>
                <a:gd name="connsiteY4" fmla="*/ 188109 h 37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301" h="376217">
                  <a:moveTo>
                    <a:pt x="0" y="188109"/>
                  </a:moveTo>
                  <a:cubicBezTo>
                    <a:pt x="0" y="292180"/>
                    <a:pt x="84819" y="376217"/>
                    <a:pt x="189151" y="376217"/>
                  </a:cubicBezTo>
                  <a:cubicBezTo>
                    <a:pt x="293483" y="376217"/>
                    <a:pt x="378302" y="291920"/>
                    <a:pt x="378302" y="188109"/>
                  </a:cubicBezTo>
                  <a:cubicBezTo>
                    <a:pt x="378302" y="84298"/>
                    <a:pt x="293483" y="0"/>
                    <a:pt x="189151" y="0"/>
                  </a:cubicBezTo>
                  <a:cubicBezTo>
                    <a:pt x="84819" y="0"/>
                    <a:pt x="0" y="84298"/>
                    <a:pt x="0" y="188109"/>
                  </a:cubicBezTo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822C92F9-8E63-2C8B-F160-56F84E295999}"/>
                </a:ext>
              </a:extLst>
            </p:cNvPr>
            <p:cNvSpPr/>
            <p:nvPr/>
          </p:nvSpPr>
          <p:spPr>
            <a:xfrm>
              <a:off x="3529862" y="874682"/>
              <a:ext cx="497320" cy="366850"/>
            </a:xfrm>
            <a:custGeom>
              <a:avLst/>
              <a:gdLst>
                <a:gd name="connsiteX0" fmla="*/ 2342 w 497320"/>
                <a:gd name="connsiteY0" fmla="*/ 366851 h 366850"/>
                <a:gd name="connsiteX1" fmla="*/ 466503 w 497320"/>
                <a:gd name="connsiteY1" fmla="*/ 366851 h 366850"/>
                <a:gd name="connsiteX2" fmla="*/ 497204 w 497320"/>
                <a:gd name="connsiteY2" fmla="*/ 34083 h 366850"/>
                <a:gd name="connsiteX3" fmla="*/ 465983 w 497320"/>
                <a:gd name="connsiteY3" fmla="*/ 0 h 366850"/>
                <a:gd name="connsiteX4" fmla="*/ 222454 w 497320"/>
                <a:gd name="connsiteY4" fmla="*/ 0 h 366850"/>
                <a:gd name="connsiteX5" fmla="*/ 0 w 497320"/>
                <a:gd name="connsiteY5" fmla="*/ 221151 h 366850"/>
                <a:gd name="connsiteX6" fmla="*/ 2342 w 497320"/>
                <a:gd name="connsiteY6" fmla="*/ 366851 h 36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7320" h="366850">
                  <a:moveTo>
                    <a:pt x="2342" y="366851"/>
                  </a:moveTo>
                  <a:lnTo>
                    <a:pt x="466503" y="366851"/>
                  </a:lnTo>
                  <a:lnTo>
                    <a:pt x="497204" y="34083"/>
                  </a:lnTo>
                  <a:cubicBezTo>
                    <a:pt x="498765" y="15871"/>
                    <a:pt x="484455" y="0"/>
                    <a:pt x="465983" y="0"/>
                  </a:cubicBezTo>
                  <a:lnTo>
                    <a:pt x="222454" y="0"/>
                  </a:lnTo>
                  <a:cubicBezTo>
                    <a:pt x="99649" y="0"/>
                    <a:pt x="0" y="99128"/>
                    <a:pt x="0" y="221151"/>
                  </a:cubicBezTo>
                  <a:lnTo>
                    <a:pt x="2342" y="366851"/>
                  </a:lnTo>
                  <a:close/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3F93F459-A9B1-0D4A-694B-298CE371AAE6}"/>
                </a:ext>
              </a:extLst>
            </p:cNvPr>
            <p:cNvSpPr/>
            <p:nvPr/>
          </p:nvSpPr>
          <p:spPr>
            <a:xfrm>
              <a:off x="3844940" y="1088289"/>
              <a:ext cx="530402" cy="707684"/>
            </a:xfrm>
            <a:custGeom>
              <a:avLst/>
              <a:gdLst>
                <a:gd name="connsiteX0" fmla="*/ 202940 w 530402"/>
                <a:gd name="connsiteY0" fmla="*/ 707684 h 707684"/>
                <a:gd name="connsiteX1" fmla="*/ 0 w 530402"/>
                <a:gd name="connsiteY1" fmla="*/ 149082 h 707684"/>
                <a:gd name="connsiteX2" fmla="*/ 465202 w 530402"/>
                <a:gd name="connsiteY2" fmla="*/ 0 h 707684"/>
                <a:gd name="connsiteX3" fmla="*/ 502148 w 530402"/>
                <a:gd name="connsiteY3" fmla="*/ 101469 h 707684"/>
                <a:gd name="connsiteX4" fmla="*/ 202940 w 530402"/>
                <a:gd name="connsiteY4" fmla="*/ 707684 h 70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402" h="707684">
                  <a:moveTo>
                    <a:pt x="202940" y="707684"/>
                  </a:moveTo>
                  <a:lnTo>
                    <a:pt x="0" y="149082"/>
                  </a:lnTo>
                  <a:lnTo>
                    <a:pt x="465202" y="0"/>
                  </a:lnTo>
                  <a:lnTo>
                    <a:pt x="502148" y="101469"/>
                  </a:lnTo>
                  <a:cubicBezTo>
                    <a:pt x="592950" y="351240"/>
                    <a:pt x="457397" y="626248"/>
                    <a:pt x="202940" y="707684"/>
                  </a:cubicBezTo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C6A37DFC-A013-B1E1-26C4-A90C70C05E99}"/>
                </a:ext>
              </a:extLst>
            </p:cNvPr>
            <p:cNvSpPr/>
            <p:nvPr/>
          </p:nvSpPr>
          <p:spPr>
            <a:xfrm>
              <a:off x="3790822" y="2142790"/>
              <a:ext cx="360349" cy="286488"/>
            </a:xfrm>
            <a:custGeom>
              <a:avLst/>
              <a:gdLst>
                <a:gd name="connsiteX0" fmla="*/ 360349 w 360349"/>
                <a:gd name="connsiteY0" fmla="*/ 3903 h 286488"/>
                <a:gd name="connsiteX1" fmla="*/ 0 w 360349"/>
                <a:gd name="connsiteY1" fmla="*/ 0 h 286488"/>
                <a:gd name="connsiteX2" fmla="*/ 27579 w 360349"/>
                <a:gd name="connsiteY2" fmla="*/ 188109 h 286488"/>
                <a:gd name="connsiteX3" fmla="*/ 244309 w 360349"/>
                <a:gd name="connsiteY3" fmla="*/ 224794 h 286488"/>
                <a:gd name="connsiteX4" fmla="*/ 360349 w 360349"/>
                <a:gd name="connsiteY4" fmla="*/ 3903 h 28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349" h="286488">
                  <a:moveTo>
                    <a:pt x="360349" y="3903"/>
                  </a:moveTo>
                  <a:lnTo>
                    <a:pt x="0" y="0"/>
                  </a:lnTo>
                  <a:lnTo>
                    <a:pt x="27579" y="188109"/>
                  </a:lnTo>
                  <a:cubicBezTo>
                    <a:pt x="43710" y="298424"/>
                    <a:pt x="192533" y="323401"/>
                    <a:pt x="244309" y="224794"/>
                  </a:cubicBezTo>
                  <a:lnTo>
                    <a:pt x="360349" y="3903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E2D9ABCB-681E-47A8-C980-3366761334BC}"/>
                </a:ext>
              </a:extLst>
            </p:cNvPr>
            <p:cNvSpPr/>
            <p:nvPr/>
          </p:nvSpPr>
          <p:spPr>
            <a:xfrm>
              <a:off x="3717712" y="1538136"/>
              <a:ext cx="446381" cy="732703"/>
            </a:xfrm>
            <a:custGeom>
              <a:avLst/>
              <a:gdLst>
                <a:gd name="connsiteX0" fmla="*/ 444908 w 446381"/>
                <a:gd name="connsiteY0" fmla="*/ 520616 h 732703"/>
                <a:gd name="connsiteX1" fmla="*/ 385847 w 446381"/>
                <a:gd name="connsiteY1" fmla="*/ 0 h 732703"/>
                <a:gd name="connsiteX2" fmla="*/ 0 w 446381"/>
                <a:gd name="connsiteY2" fmla="*/ 36945 h 732703"/>
                <a:gd name="connsiteX3" fmla="*/ 64525 w 446381"/>
                <a:gd name="connsiteY3" fmla="*/ 565107 h 732703"/>
                <a:gd name="connsiteX4" fmla="*/ 284637 w 446381"/>
                <a:gd name="connsiteY4" fmla="*/ 730320 h 732703"/>
                <a:gd name="connsiteX5" fmla="*/ 445168 w 446381"/>
                <a:gd name="connsiteY5" fmla="*/ 520616 h 73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6381" h="732703">
                  <a:moveTo>
                    <a:pt x="444908" y="520616"/>
                  </a:moveTo>
                  <a:lnTo>
                    <a:pt x="385847" y="0"/>
                  </a:lnTo>
                  <a:lnTo>
                    <a:pt x="0" y="36945"/>
                  </a:lnTo>
                  <a:lnTo>
                    <a:pt x="64525" y="565107"/>
                  </a:lnTo>
                  <a:cubicBezTo>
                    <a:pt x="77534" y="672300"/>
                    <a:pt x="177443" y="747231"/>
                    <a:pt x="284637" y="730320"/>
                  </a:cubicBezTo>
                  <a:cubicBezTo>
                    <a:pt x="385847" y="714449"/>
                    <a:pt x="456616" y="622086"/>
                    <a:pt x="445168" y="520616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56AF9790-B8E3-16EC-D059-41FA8F5C6E44}"/>
                </a:ext>
              </a:extLst>
            </p:cNvPr>
            <p:cNvSpPr/>
            <p:nvPr/>
          </p:nvSpPr>
          <p:spPr>
            <a:xfrm>
              <a:off x="3532203" y="998267"/>
              <a:ext cx="573436" cy="853904"/>
            </a:xfrm>
            <a:custGeom>
              <a:avLst/>
              <a:gdLst>
                <a:gd name="connsiteX0" fmla="*/ 209705 w 573436"/>
                <a:gd name="connsiteY0" fmla="*/ 853904 h 853904"/>
                <a:gd name="connsiteX1" fmla="*/ 329648 w 573436"/>
                <a:gd name="connsiteY1" fmla="*/ 853904 h 853904"/>
                <a:gd name="connsiteX2" fmla="*/ 573437 w 573436"/>
                <a:gd name="connsiteY2" fmla="*/ 610117 h 853904"/>
                <a:gd name="connsiteX3" fmla="*/ 573437 w 573436"/>
                <a:gd name="connsiteY3" fmla="*/ 243787 h 853904"/>
                <a:gd name="connsiteX4" fmla="*/ 329648 w 573436"/>
                <a:gd name="connsiteY4" fmla="*/ 0 h 853904"/>
                <a:gd name="connsiteX5" fmla="*/ 102771 w 573436"/>
                <a:gd name="connsiteY5" fmla="*/ 0 h 853904"/>
                <a:gd name="connsiteX6" fmla="*/ 0 w 573436"/>
                <a:gd name="connsiteY6" fmla="*/ 102770 h 853904"/>
                <a:gd name="connsiteX7" fmla="*/ 0 w 573436"/>
                <a:gd name="connsiteY7" fmla="*/ 644201 h 853904"/>
                <a:gd name="connsiteX8" fmla="*/ 209705 w 573436"/>
                <a:gd name="connsiteY8" fmla="*/ 853904 h 85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3436" h="853904">
                  <a:moveTo>
                    <a:pt x="209705" y="853904"/>
                  </a:moveTo>
                  <a:lnTo>
                    <a:pt x="329648" y="853904"/>
                  </a:lnTo>
                  <a:cubicBezTo>
                    <a:pt x="464421" y="853904"/>
                    <a:pt x="573437" y="744629"/>
                    <a:pt x="573437" y="610117"/>
                  </a:cubicBezTo>
                  <a:lnTo>
                    <a:pt x="573437" y="243787"/>
                  </a:lnTo>
                  <a:cubicBezTo>
                    <a:pt x="573437" y="109015"/>
                    <a:pt x="464161" y="0"/>
                    <a:pt x="329648" y="0"/>
                  </a:cubicBezTo>
                  <a:lnTo>
                    <a:pt x="102771" y="0"/>
                  </a:lnTo>
                  <a:cubicBezTo>
                    <a:pt x="46052" y="0"/>
                    <a:pt x="0" y="46051"/>
                    <a:pt x="0" y="102770"/>
                  </a:cubicBezTo>
                  <a:lnTo>
                    <a:pt x="0" y="644201"/>
                  </a:lnTo>
                  <a:cubicBezTo>
                    <a:pt x="0" y="759980"/>
                    <a:pt x="93925" y="853904"/>
                    <a:pt x="209705" y="853904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6891BA1B-72EB-A9CE-BCE6-7068DBFEA5A9}"/>
                </a:ext>
              </a:extLst>
            </p:cNvPr>
            <p:cNvSpPr/>
            <p:nvPr/>
          </p:nvSpPr>
          <p:spPr>
            <a:xfrm>
              <a:off x="4023683" y="1351012"/>
              <a:ext cx="177754" cy="200393"/>
            </a:xfrm>
            <a:custGeom>
              <a:avLst/>
              <a:gdLst>
                <a:gd name="connsiteX0" fmla="*/ 79095 w 177754"/>
                <a:gd name="connsiteY0" fmla="*/ 200393 h 200393"/>
                <a:gd name="connsiteX1" fmla="*/ 122285 w 177754"/>
                <a:gd name="connsiteY1" fmla="*/ 180619 h 200393"/>
                <a:gd name="connsiteX2" fmla="*/ 169117 w 177754"/>
                <a:gd name="connsiteY2" fmla="*/ 55214 h 200393"/>
                <a:gd name="connsiteX3" fmla="*/ 43190 w 177754"/>
                <a:gd name="connsiteY3" fmla="*/ 8642 h 200393"/>
                <a:gd name="connsiteX4" fmla="*/ 0 w 177754"/>
                <a:gd name="connsiteY4" fmla="*/ 28415 h 200393"/>
                <a:gd name="connsiteX5" fmla="*/ 79095 w 177754"/>
                <a:gd name="connsiteY5" fmla="*/ 200393 h 200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754" h="200393">
                  <a:moveTo>
                    <a:pt x="79095" y="200393"/>
                  </a:moveTo>
                  <a:lnTo>
                    <a:pt x="122285" y="180619"/>
                  </a:lnTo>
                  <a:cubicBezTo>
                    <a:pt x="169898" y="158765"/>
                    <a:pt x="190972" y="102826"/>
                    <a:pt x="169117" y="55214"/>
                  </a:cubicBezTo>
                  <a:cubicBezTo>
                    <a:pt x="147262" y="7861"/>
                    <a:pt x="90803" y="-13213"/>
                    <a:pt x="43190" y="8642"/>
                  </a:cubicBezTo>
                  <a:lnTo>
                    <a:pt x="0" y="28415"/>
                  </a:lnTo>
                  <a:lnTo>
                    <a:pt x="79095" y="200393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1BD79366-C60F-E69E-482D-90627A946DBE}"/>
                </a:ext>
              </a:extLst>
            </p:cNvPr>
            <p:cNvSpPr/>
            <p:nvPr/>
          </p:nvSpPr>
          <p:spPr>
            <a:xfrm>
              <a:off x="4023423" y="1508996"/>
              <a:ext cx="101470" cy="238583"/>
            </a:xfrm>
            <a:custGeom>
              <a:avLst/>
              <a:gdLst>
                <a:gd name="connsiteX0" fmla="*/ 101470 w 101470"/>
                <a:gd name="connsiteY0" fmla="*/ 0 h 238583"/>
                <a:gd name="connsiteX1" fmla="*/ 101470 w 101470"/>
                <a:gd name="connsiteY1" fmla="*/ 238583 h 238583"/>
                <a:gd name="connsiteX2" fmla="*/ 0 w 101470"/>
                <a:gd name="connsiteY2" fmla="*/ 24197 h 238583"/>
                <a:gd name="connsiteX3" fmla="*/ 101470 w 101470"/>
                <a:gd name="connsiteY3" fmla="*/ 0 h 2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470" h="238583">
                  <a:moveTo>
                    <a:pt x="101470" y="0"/>
                  </a:moveTo>
                  <a:lnTo>
                    <a:pt x="101470" y="238583"/>
                  </a:lnTo>
                  <a:lnTo>
                    <a:pt x="0" y="24197"/>
                  </a:lnTo>
                  <a:lnTo>
                    <a:pt x="101470" y="0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FC805D3C-3114-BBB0-69F5-0738E03F589B}"/>
                </a:ext>
              </a:extLst>
            </p:cNvPr>
            <p:cNvSpPr/>
            <p:nvPr/>
          </p:nvSpPr>
          <p:spPr>
            <a:xfrm>
              <a:off x="3751275" y="1852171"/>
              <a:ext cx="118642" cy="117340"/>
            </a:xfrm>
            <a:custGeom>
              <a:avLst/>
              <a:gdLst>
                <a:gd name="connsiteX0" fmla="*/ 0 w 118642"/>
                <a:gd name="connsiteY0" fmla="*/ 0 h 117340"/>
                <a:gd name="connsiteX1" fmla="*/ 118642 w 118642"/>
                <a:gd name="connsiteY1" fmla="*/ 0 h 117340"/>
                <a:gd name="connsiteX2" fmla="*/ 14310 w 118642"/>
                <a:gd name="connsiteY2" fmla="*/ 117340 h 117340"/>
                <a:gd name="connsiteX3" fmla="*/ 0 w 118642"/>
                <a:gd name="connsiteY3" fmla="*/ 0 h 11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642" h="117340">
                  <a:moveTo>
                    <a:pt x="0" y="0"/>
                  </a:moveTo>
                  <a:lnTo>
                    <a:pt x="118642" y="0"/>
                  </a:lnTo>
                  <a:lnTo>
                    <a:pt x="14310" y="117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A7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1AB9B0F5-337C-A8D1-8F26-06F960E5E02C}"/>
                </a:ext>
              </a:extLst>
            </p:cNvPr>
            <p:cNvSpPr/>
            <p:nvPr/>
          </p:nvSpPr>
          <p:spPr>
            <a:xfrm>
              <a:off x="3958378" y="1355445"/>
              <a:ext cx="289723" cy="254760"/>
            </a:xfrm>
            <a:custGeom>
              <a:avLst/>
              <a:gdLst>
                <a:gd name="connsiteX0" fmla="*/ 80656 w 289723"/>
                <a:gd name="connsiteY0" fmla="*/ 254240 h 254760"/>
                <a:gd name="connsiteX1" fmla="*/ 233121 w 289723"/>
                <a:gd name="connsiteY1" fmla="*/ 183992 h 254760"/>
                <a:gd name="connsiteX2" fmla="*/ 280995 w 289723"/>
                <a:gd name="connsiteY2" fmla="*/ 56245 h 254760"/>
                <a:gd name="connsiteX3" fmla="*/ 152466 w 289723"/>
                <a:gd name="connsiteY3" fmla="*/ 8892 h 254760"/>
                <a:gd name="connsiteX4" fmla="*/ 0 w 289723"/>
                <a:gd name="connsiteY4" fmla="*/ 79401 h 254760"/>
                <a:gd name="connsiteX5" fmla="*/ 80656 w 289723"/>
                <a:gd name="connsiteY5" fmla="*/ 254761 h 2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723" h="254760">
                  <a:moveTo>
                    <a:pt x="80656" y="254240"/>
                  </a:moveTo>
                  <a:lnTo>
                    <a:pt x="233121" y="183992"/>
                  </a:lnTo>
                  <a:cubicBezTo>
                    <a:pt x="281775" y="161877"/>
                    <a:pt x="303110" y="104638"/>
                    <a:pt x="280995" y="56245"/>
                  </a:cubicBezTo>
                  <a:cubicBezTo>
                    <a:pt x="258619" y="7852"/>
                    <a:pt x="201119" y="-13483"/>
                    <a:pt x="152466" y="8892"/>
                  </a:cubicBezTo>
                  <a:lnTo>
                    <a:pt x="0" y="79401"/>
                  </a:lnTo>
                  <a:lnTo>
                    <a:pt x="80656" y="254761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F22A600C-B6A2-B2EF-2565-0D7A09847B39}"/>
                </a:ext>
              </a:extLst>
            </p:cNvPr>
            <p:cNvSpPr/>
            <p:nvPr/>
          </p:nvSpPr>
          <p:spPr>
            <a:xfrm>
              <a:off x="3529862" y="874682"/>
              <a:ext cx="813754" cy="544186"/>
            </a:xfrm>
            <a:custGeom>
              <a:avLst/>
              <a:gdLst>
                <a:gd name="connsiteX0" fmla="*/ 0 w 813754"/>
                <a:gd name="connsiteY0" fmla="*/ 228436 h 544186"/>
                <a:gd name="connsiteX1" fmla="*/ 181606 w 813754"/>
                <a:gd name="connsiteY1" fmla="*/ 47873 h 544186"/>
                <a:gd name="connsiteX2" fmla="*/ 302850 w 813754"/>
                <a:gd name="connsiteY2" fmla="*/ 47873 h 544186"/>
                <a:gd name="connsiteX3" fmla="*/ 473007 w 813754"/>
                <a:gd name="connsiteY3" fmla="*/ 0 h 544186"/>
                <a:gd name="connsiteX4" fmla="*/ 779760 w 813754"/>
                <a:gd name="connsiteY4" fmla="*/ 213606 h 544186"/>
                <a:gd name="connsiteX5" fmla="*/ 780280 w 813754"/>
                <a:gd name="connsiteY5" fmla="*/ 213606 h 544186"/>
                <a:gd name="connsiteX6" fmla="*/ 811762 w 813754"/>
                <a:gd name="connsiteY6" fmla="*/ 355143 h 544186"/>
                <a:gd name="connsiteX7" fmla="*/ 740733 w 813754"/>
                <a:gd name="connsiteY7" fmla="*/ 544032 h 544186"/>
                <a:gd name="connsiteX8" fmla="*/ 680631 w 813754"/>
                <a:gd name="connsiteY8" fmla="*/ 486533 h 544186"/>
                <a:gd name="connsiteX9" fmla="*/ 580722 w 813754"/>
                <a:gd name="connsiteY9" fmla="*/ 532584 h 544186"/>
                <a:gd name="connsiteX10" fmla="*/ 410824 w 813754"/>
                <a:gd name="connsiteY10" fmla="*/ 462076 h 544186"/>
                <a:gd name="connsiteX11" fmla="*/ 371017 w 813754"/>
                <a:gd name="connsiteY11" fmla="*/ 275008 h 544186"/>
                <a:gd name="connsiteX12" fmla="*/ 280995 w 813754"/>
                <a:gd name="connsiteY12" fmla="*/ 174840 h 544186"/>
                <a:gd name="connsiteX13" fmla="*/ 215949 w 813754"/>
                <a:gd name="connsiteY13" fmla="*/ 163652 h 544186"/>
                <a:gd name="connsiteX14" fmla="*/ 45532 w 813754"/>
                <a:gd name="connsiteY14" fmla="*/ 235981 h 544186"/>
                <a:gd name="connsiteX15" fmla="*/ 2081 w 813754"/>
                <a:gd name="connsiteY15" fmla="*/ 339532 h 544186"/>
                <a:gd name="connsiteX16" fmla="*/ 520 w 813754"/>
                <a:gd name="connsiteY16" fmla="*/ 270585 h 544186"/>
                <a:gd name="connsiteX17" fmla="*/ 0 w 813754"/>
                <a:gd name="connsiteY17" fmla="*/ 244828 h 544186"/>
                <a:gd name="connsiteX18" fmla="*/ 0 w 813754"/>
                <a:gd name="connsiteY18" fmla="*/ 228176 h 54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13754" h="544186">
                  <a:moveTo>
                    <a:pt x="0" y="228436"/>
                  </a:moveTo>
                  <a:cubicBezTo>
                    <a:pt x="0" y="128788"/>
                    <a:pt x="81176" y="47873"/>
                    <a:pt x="181606" y="47873"/>
                  </a:cubicBezTo>
                  <a:lnTo>
                    <a:pt x="302850" y="47873"/>
                  </a:lnTo>
                  <a:cubicBezTo>
                    <a:pt x="352544" y="17692"/>
                    <a:pt x="410564" y="0"/>
                    <a:pt x="473007" y="0"/>
                  </a:cubicBezTo>
                  <a:cubicBezTo>
                    <a:pt x="614025" y="0"/>
                    <a:pt x="733968" y="89241"/>
                    <a:pt x="779760" y="213606"/>
                  </a:cubicBezTo>
                  <a:lnTo>
                    <a:pt x="780280" y="213606"/>
                  </a:lnTo>
                  <a:cubicBezTo>
                    <a:pt x="780280" y="213606"/>
                    <a:pt x="811762" y="355143"/>
                    <a:pt x="811762" y="355143"/>
                  </a:cubicBezTo>
                  <a:cubicBezTo>
                    <a:pt x="827633" y="398853"/>
                    <a:pt x="743595" y="500322"/>
                    <a:pt x="740733" y="544032"/>
                  </a:cubicBezTo>
                  <a:lnTo>
                    <a:pt x="680631" y="486533"/>
                  </a:lnTo>
                  <a:lnTo>
                    <a:pt x="580722" y="532584"/>
                  </a:lnTo>
                  <a:cubicBezTo>
                    <a:pt x="514376" y="563285"/>
                    <a:pt x="435802" y="530763"/>
                    <a:pt x="410824" y="462076"/>
                  </a:cubicBezTo>
                  <a:lnTo>
                    <a:pt x="371017" y="275008"/>
                  </a:lnTo>
                  <a:cubicBezTo>
                    <a:pt x="360870" y="227135"/>
                    <a:pt x="329388" y="182125"/>
                    <a:pt x="280995" y="174840"/>
                  </a:cubicBezTo>
                  <a:lnTo>
                    <a:pt x="215949" y="163652"/>
                  </a:lnTo>
                  <a:cubicBezTo>
                    <a:pt x="148303" y="153765"/>
                    <a:pt x="82217" y="178742"/>
                    <a:pt x="45532" y="235981"/>
                  </a:cubicBezTo>
                  <a:lnTo>
                    <a:pt x="2081" y="339532"/>
                  </a:lnTo>
                  <a:lnTo>
                    <a:pt x="520" y="270585"/>
                  </a:lnTo>
                  <a:cubicBezTo>
                    <a:pt x="520" y="260698"/>
                    <a:pt x="0" y="244828"/>
                    <a:pt x="0" y="244828"/>
                  </a:cubicBezTo>
                  <a:lnTo>
                    <a:pt x="0" y="228176"/>
                  </a:lnTo>
                  <a:close/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A36771C3-BC5E-910E-4956-744F9DA033B1}"/>
                </a:ext>
              </a:extLst>
            </p:cNvPr>
            <p:cNvSpPr/>
            <p:nvPr/>
          </p:nvSpPr>
          <p:spPr>
            <a:xfrm>
              <a:off x="4084510" y="2011400"/>
              <a:ext cx="202475" cy="1139319"/>
            </a:xfrm>
            <a:custGeom>
              <a:avLst/>
              <a:gdLst>
                <a:gd name="connsiteX0" fmla="*/ 74467 w 202475"/>
                <a:gd name="connsiteY0" fmla="*/ 0 h 1139319"/>
                <a:gd name="connsiteX1" fmla="*/ 9422 w 202475"/>
                <a:gd name="connsiteY1" fmla="*/ 426432 h 1139319"/>
                <a:gd name="connsiteX2" fmla="*/ 7600 w 202475"/>
                <a:gd name="connsiteY2" fmla="*/ 661372 h 1139319"/>
                <a:gd name="connsiteX3" fmla="*/ 59636 w 202475"/>
                <a:gd name="connsiteY3" fmla="*/ 1139319 h 1139319"/>
                <a:gd name="connsiteX4" fmla="*/ 80711 w 202475"/>
                <a:gd name="connsiteY4" fmla="*/ 660071 h 1139319"/>
                <a:gd name="connsiteX5" fmla="*/ 127283 w 202475"/>
                <a:gd name="connsiteY5" fmla="*/ 321320 h 1139319"/>
                <a:gd name="connsiteX6" fmla="*/ 202475 w 202475"/>
                <a:gd name="connsiteY6" fmla="*/ 260 h 1139319"/>
                <a:gd name="connsiteX7" fmla="*/ 74467 w 202475"/>
                <a:gd name="connsiteY7" fmla="*/ 260 h 113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475" h="1139319">
                  <a:moveTo>
                    <a:pt x="74467" y="0"/>
                  </a:moveTo>
                  <a:lnTo>
                    <a:pt x="9422" y="426432"/>
                  </a:lnTo>
                  <a:cubicBezTo>
                    <a:pt x="-2547" y="504225"/>
                    <a:pt x="-3067" y="583319"/>
                    <a:pt x="7600" y="661372"/>
                  </a:cubicBezTo>
                  <a:lnTo>
                    <a:pt x="59636" y="1139319"/>
                  </a:lnTo>
                  <a:lnTo>
                    <a:pt x="80711" y="660071"/>
                  </a:lnTo>
                  <a:cubicBezTo>
                    <a:pt x="85654" y="545853"/>
                    <a:pt x="101265" y="432416"/>
                    <a:pt x="127283" y="321320"/>
                  </a:cubicBezTo>
                  <a:lnTo>
                    <a:pt x="202475" y="260"/>
                  </a:lnTo>
                  <a:lnTo>
                    <a:pt x="74467" y="260"/>
                  </a:lnTo>
                  <a:close/>
                </a:path>
              </a:pathLst>
            </a:custGeom>
            <a:solidFill>
              <a:srgbClr val="FE8F11"/>
            </a:solidFill>
            <a:ln w="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4F4DBD89-3B24-0CDE-8F86-61E5569C34F1}"/>
                </a:ext>
              </a:extLst>
            </p:cNvPr>
            <p:cNvSpPr/>
            <p:nvPr/>
          </p:nvSpPr>
          <p:spPr>
            <a:xfrm>
              <a:off x="3503056" y="2010359"/>
              <a:ext cx="267732" cy="1139839"/>
            </a:xfrm>
            <a:custGeom>
              <a:avLst/>
              <a:gdLst>
                <a:gd name="connsiteX0" fmla="*/ 267472 w 267732"/>
                <a:gd name="connsiteY0" fmla="*/ 520 h 1139839"/>
                <a:gd name="connsiteX1" fmla="*/ 99916 w 267732"/>
                <a:gd name="connsiteY1" fmla="*/ 482110 h 1139839"/>
                <a:gd name="connsiteX2" fmla="*/ 85606 w 267732"/>
                <a:gd name="connsiteY2" fmla="*/ 627549 h 1139839"/>
                <a:gd name="connsiteX3" fmla="*/ 145448 w 267732"/>
                <a:gd name="connsiteY3" fmla="*/ 1139840 h 1139839"/>
                <a:gd name="connsiteX4" fmla="*/ 5211 w 267732"/>
                <a:gd name="connsiteY4" fmla="*/ 598149 h 1139839"/>
                <a:gd name="connsiteX5" fmla="*/ 7813 w 267732"/>
                <a:gd name="connsiteY5" fmla="*/ 506827 h 1139839"/>
                <a:gd name="connsiteX6" fmla="*/ 164181 w 267732"/>
                <a:gd name="connsiteY6" fmla="*/ 0 h 1139839"/>
                <a:gd name="connsiteX7" fmla="*/ 267732 w 267732"/>
                <a:gd name="connsiteY7" fmla="*/ 0 h 1139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732" h="1139839">
                  <a:moveTo>
                    <a:pt x="267472" y="520"/>
                  </a:moveTo>
                  <a:lnTo>
                    <a:pt x="99916" y="482110"/>
                  </a:lnTo>
                  <a:cubicBezTo>
                    <a:pt x="84306" y="528942"/>
                    <a:pt x="79362" y="578636"/>
                    <a:pt x="85606" y="627549"/>
                  </a:cubicBezTo>
                  <a:lnTo>
                    <a:pt x="145448" y="1139840"/>
                  </a:lnTo>
                  <a:lnTo>
                    <a:pt x="5211" y="598149"/>
                  </a:lnTo>
                  <a:cubicBezTo>
                    <a:pt x="-2595" y="568229"/>
                    <a:pt x="-1554" y="536487"/>
                    <a:pt x="7813" y="506827"/>
                  </a:cubicBezTo>
                  <a:lnTo>
                    <a:pt x="164181" y="0"/>
                  </a:lnTo>
                  <a:lnTo>
                    <a:pt x="267732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pic>
        <p:nvPicPr>
          <p:cNvPr id="7" name="Grafik 6" descr="Ein Bild, das Menschliches Gesicht, Person, Lächeln, Vorderkopf enthält.&#10;&#10;Automatisch generierte Beschreibung">
            <a:extLst>
              <a:ext uri="{FF2B5EF4-FFF2-40B4-BE49-F238E27FC236}">
                <a16:creationId xmlns:a16="http://schemas.microsoft.com/office/drawing/2014/main" id="{3D6F4D3E-FDE6-65EC-C18F-E9A78A9C2B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825" y="1917915"/>
            <a:ext cx="1618488" cy="216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84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ngebote für Geschäftskunden</a:t>
            </a:r>
          </a:p>
        </p:txBody>
      </p:sp>
    </p:spTree>
    <p:extLst>
      <p:ext uri="{BB962C8B-B14F-4D97-AF65-F5344CB8AC3E}">
        <p14:creationId xmlns:p14="http://schemas.microsoft.com/office/powerpoint/2010/main" val="94057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7">
            <a:extLst>
              <a:ext uri="{FF2B5EF4-FFF2-40B4-BE49-F238E27FC236}">
                <a16:creationId xmlns:a16="http://schemas.microsoft.com/office/drawing/2014/main" id="{6727E5A3-C143-85A4-53F4-F74FCA09E10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7" r="9017"/>
          <a:stretch/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022E95C-4AD6-42C5-BE59-C1DBEFF97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Unsere Services und Lösungen für Sie –</a:t>
            </a:r>
            <a:br>
              <a:rPr lang="de-DE" b="1" dirty="0">
                <a:latin typeface="EnBW Sans Headline" pitchFamily="50" charset="0"/>
                <a:ea typeface="EnBW Sans Headline" pitchFamily="50" charset="0"/>
              </a:rPr>
            </a:b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maßgeschneidert und zuverlässig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DFAFDC5-E0F1-6948-8E59-3499915B96E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Das sind unsere Produkte und Dienste</a:t>
            </a:r>
            <a:endParaRPr lang="de-DE" dirty="0">
              <a:sym typeface="EnBW DIN Pro"/>
            </a:endParaRPr>
          </a:p>
          <a:p>
            <a:pPr lvl="2"/>
            <a:r>
              <a:rPr lang="de-DE" sz="1550" dirty="0"/>
              <a:t>Wir bieten symmetrische und asymmetrische Internetzugänge bis zu 1.000 Mbit/s.</a:t>
            </a:r>
          </a:p>
          <a:p>
            <a:pPr lvl="2"/>
            <a:r>
              <a:rPr lang="de-DE" sz="1550" dirty="0"/>
              <a:t>Unsere Internet-Standleitungen erreichen bis zu 10 Gbit/s.</a:t>
            </a:r>
          </a:p>
          <a:p>
            <a:pPr lvl="2"/>
            <a:r>
              <a:rPr lang="de-DE" sz="1550" dirty="0"/>
              <a:t>Unsere Standortvernetzungen bieten bis zu 100 Gbit/s.</a:t>
            </a:r>
          </a:p>
          <a:p>
            <a:pPr lvl="2"/>
            <a:r>
              <a:rPr lang="de-DE" sz="1550" dirty="0"/>
              <a:t>Unsere drahtlosen Internetanbindungen erzielen bis zu </a:t>
            </a:r>
            <a:br>
              <a:rPr lang="de-DE" sz="1550" dirty="0"/>
            </a:br>
            <a:r>
              <a:rPr lang="de-DE" sz="1550" dirty="0"/>
              <a:t>10 Gbit/s und sind für Ihre Unternehmensstandorte in </a:t>
            </a:r>
            <a:br>
              <a:rPr lang="de-DE" sz="1550" dirty="0"/>
            </a:br>
            <a:r>
              <a:rPr lang="de-DE" sz="1550" dirty="0"/>
              <a:t>ganz Deutschland verfügbar.</a:t>
            </a:r>
          </a:p>
          <a:p>
            <a:pPr lvl="2"/>
            <a:r>
              <a:rPr lang="de-DE" sz="1550" dirty="0"/>
              <a:t>Zu unseren IP-basierten </a:t>
            </a:r>
            <a:r>
              <a:rPr lang="de-DE" sz="1550" dirty="0" err="1"/>
              <a:t>Telefonielösungen</a:t>
            </a:r>
            <a:r>
              <a:rPr lang="de-DE" sz="1550" dirty="0"/>
              <a:t> gehören</a:t>
            </a:r>
            <a:br>
              <a:rPr lang="de-DE" sz="1550" dirty="0"/>
            </a:br>
            <a:r>
              <a:rPr lang="de-DE" sz="1550" dirty="0"/>
              <a:t>SIP-Trunk, Mehrgeräteanschluss, Anlagenanschluss,</a:t>
            </a:r>
            <a:br>
              <a:rPr lang="de-DE" sz="1550" dirty="0"/>
            </a:br>
            <a:r>
              <a:rPr lang="de-DE" sz="1550" dirty="0"/>
              <a:t>S2M-Anschluss und virtuelle Rufumleitung.</a:t>
            </a:r>
          </a:p>
          <a:p>
            <a:pPr lvl="2"/>
            <a:r>
              <a:rPr lang="de-DE" sz="1550" dirty="0"/>
              <a:t>Mit einer großen Auswahl an verschiedenen Redundanz-konzepten garantieren wir Ihnen absolute Zuverlässigkeit.</a:t>
            </a:r>
          </a:p>
          <a:p>
            <a:pPr lvl="2"/>
            <a:r>
              <a:rPr lang="de-DE" sz="1550" dirty="0"/>
              <a:t>Wir realisieren für Sie individuelle Projektlösungen.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6A098F-69A7-46FA-8C8D-1C40BD048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3D4A45-F672-4474-BA28-E624C64DA63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59F75962-0310-2C4D-968D-A0BB6F124FD3}"/>
              </a:ext>
            </a:extLst>
          </p:cNvPr>
          <p:cNvSpPr txBox="1">
            <a:spLocks/>
          </p:cNvSpPr>
          <p:nvPr/>
        </p:nvSpPr>
        <p:spPr>
          <a:xfrm>
            <a:off x="468195" y="1700217"/>
            <a:ext cx="5049365" cy="475297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cs typeface="+mn-cs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1186E14-072E-37FB-DA0C-BE32E7C5453C}"/>
              </a:ext>
            </a:extLst>
          </p:cNvPr>
          <p:cNvSpPr/>
          <p:nvPr/>
        </p:nvSpPr>
        <p:spPr bwMode="gray">
          <a:xfrm>
            <a:off x="5924497" y="1312587"/>
            <a:ext cx="1462046" cy="1462046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rPr>
              <a:t>Starten Sie 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rPr>
              <a:t>mit uns in die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rPr>
              <a:t>Gigabit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rPr>
              <a:t>Gesellschaft</a:t>
            </a:r>
          </a:p>
        </p:txBody>
      </p:sp>
    </p:spTree>
    <p:extLst>
      <p:ext uri="{BB962C8B-B14F-4D97-AF65-F5344CB8AC3E}">
        <p14:creationId xmlns:p14="http://schemas.microsoft.com/office/powerpoint/2010/main" val="4179898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8">
            <a:extLst>
              <a:ext uri="{FF2B5EF4-FFF2-40B4-BE49-F238E27FC236}">
                <a16:creationId xmlns:a16="http://schemas.microsoft.com/office/drawing/2014/main" id="{6D309084-48DC-C2B7-3414-9B2A10D4E50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" b="13"/>
          <a:stretch/>
        </p:blipFill>
        <p:spPr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5197FE16-72F1-0AB7-23E5-115E4916C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Kurz und knapp:</a:t>
            </a:r>
            <a:br>
              <a:rPr lang="de-DE" b="1" dirty="0">
                <a:latin typeface="EnBW Sans Headline" pitchFamily="50" charset="0"/>
                <a:ea typeface="EnBW Sans Headline" pitchFamily="50" charset="0"/>
              </a:rPr>
            </a:br>
            <a:r>
              <a:rPr lang="de-DE" b="1" dirty="0" err="1">
                <a:latin typeface="EnBW Sans Headline" pitchFamily="50" charset="0"/>
                <a:ea typeface="EnBW Sans Headline" pitchFamily="50" charset="0"/>
              </a:rPr>
              <a:t>ComBusiness</a:t>
            </a: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 </a:t>
            </a:r>
            <a:r>
              <a:rPr lang="de-DE" b="1" dirty="0" err="1">
                <a:latin typeface="EnBW Sans Headline" pitchFamily="50" charset="0"/>
                <a:ea typeface="EnBW Sans Headline" pitchFamily="50" charset="0"/>
              </a:rPr>
              <a:t>phone</a:t>
            </a:r>
            <a:endParaRPr lang="de-DE" b="1" dirty="0">
              <a:latin typeface="EnBW Sans Headline" pitchFamily="50" charset="0"/>
              <a:ea typeface="EnBW Sans Headline" pitchFamily="50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61C6D1A-3FAD-BC4A-C8A8-7F924AF1D9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de-DE" sz="1650" dirty="0">
                <a:solidFill>
                  <a:schemeClr val="tx1"/>
                </a:solidFill>
              </a:rPr>
              <a:t>Perfekte Ergänzung für Ihre individuelle Internetlösung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IP-basierter Telefonanschluss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Flatrate ins deutsche Festnetz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Vor-Ort-Installation inklusive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Hardware auf Leihbasis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Mitnahme Telefonnummern</a:t>
            </a:r>
          </a:p>
          <a:p>
            <a:pPr lvl="2">
              <a:spcAft>
                <a:spcPts val="900"/>
              </a:spcAft>
            </a:pPr>
            <a:r>
              <a:rPr lang="de-DE" sz="1450" dirty="0"/>
              <a:t>2 bis 100 Sprachkanäle</a:t>
            </a:r>
          </a:p>
          <a:p>
            <a:pPr>
              <a:spcAft>
                <a:spcPts val="300"/>
              </a:spcAft>
            </a:pPr>
            <a:r>
              <a:rPr lang="de-DE" sz="1650" dirty="0">
                <a:solidFill>
                  <a:schemeClr val="tx1"/>
                </a:solidFill>
              </a:rPr>
              <a:t>Auswahl aus mehreren Varianten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Mehrgeräteanschluss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Anlagenanschluss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Anlagenanschluss S2M</a:t>
            </a:r>
          </a:p>
          <a:p>
            <a:pPr lvl="2">
              <a:spcAft>
                <a:spcPts val="900"/>
              </a:spcAft>
            </a:pPr>
            <a:r>
              <a:rPr lang="de-DE" sz="1450" dirty="0"/>
              <a:t>SIP-Trunk</a:t>
            </a:r>
          </a:p>
          <a:p>
            <a:pPr>
              <a:spcAft>
                <a:spcPts val="300"/>
              </a:spcAft>
            </a:pPr>
            <a:r>
              <a:rPr lang="de-DE" sz="1650" dirty="0">
                <a:solidFill>
                  <a:schemeClr val="tx1"/>
                </a:solidFill>
              </a:rPr>
              <a:t>Zusatzoptionen machen flexibel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Erweiterungen der Rufnummern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Mobilfunk-Optionen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Europa-Minutenpakete</a:t>
            </a:r>
          </a:p>
          <a:p>
            <a:pPr lvl="2">
              <a:spcAft>
                <a:spcPts val="0"/>
              </a:spcAft>
            </a:pPr>
            <a:r>
              <a:rPr lang="de-DE" sz="1450" dirty="0"/>
              <a:t>Flexibel buchbare Service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5DDF83-4178-DEF4-C5E6-AFDD330F9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100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8B2115C9-6F39-2F25-7460-A4622F85804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5" b="5"/>
          <a:stretch/>
        </p:blipFill>
        <p:spPr>
          <a:custGeom>
            <a:avLst/>
            <a:gdLst>
              <a:gd name="connsiteX0" fmla="*/ 4874901 w 8469042"/>
              <a:gd name="connsiteY0" fmla="*/ 0 h 4243264"/>
              <a:gd name="connsiteX1" fmla="*/ 5953520 w 8469042"/>
              <a:gd name="connsiteY1" fmla="*/ 446982 h 4243264"/>
              <a:gd name="connsiteX2" fmla="*/ 7612011 w 8469042"/>
              <a:gd name="connsiteY2" fmla="*/ 2105473 h 4243264"/>
              <a:gd name="connsiteX3" fmla="*/ 8469041 w 8469042"/>
              <a:gd name="connsiteY3" fmla="*/ 2962503 h 4243264"/>
              <a:gd name="connsiteX4" fmla="*/ 8469041 w 8469042"/>
              <a:gd name="connsiteY4" fmla="*/ 3192777 h 4243264"/>
              <a:gd name="connsiteX5" fmla="*/ 8469042 w 8469042"/>
              <a:gd name="connsiteY5" fmla="*/ 3192778 h 4243264"/>
              <a:gd name="connsiteX6" fmla="*/ 8469042 w 8469042"/>
              <a:gd name="connsiteY6" fmla="*/ 4243264 h 4243264"/>
              <a:gd name="connsiteX7" fmla="*/ 0 w 8469042"/>
              <a:gd name="connsiteY7" fmla="*/ 4243264 h 4243264"/>
              <a:gd name="connsiteX8" fmla="*/ 3796615 w 8469042"/>
              <a:gd name="connsiteY8" fmla="*/ 446648 h 4243264"/>
              <a:gd name="connsiteX9" fmla="*/ 4874901 w 8469042"/>
              <a:gd name="connsiteY9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9042" h="4243264">
                <a:moveTo>
                  <a:pt x="4874901" y="0"/>
                </a:moveTo>
                <a:cubicBezTo>
                  <a:pt x="5282217" y="0"/>
                  <a:pt x="5665533" y="158661"/>
                  <a:pt x="5953520" y="446982"/>
                </a:cubicBezTo>
                <a:lnTo>
                  <a:pt x="7612011" y="2105473"/>
                </a:lnTo>
                <a:lnTo>
                  <a:pt x="8469041" y="2962503"/>
                </a:lnTo>
                <a:lnTo>
                  <a:pt x="8469041" y="3192777"/>
                </a:lnTo>
                <a:lnTo>
                  <a:pt x="8469042" y="3192778"/>
                </a:lnTo>
                <a:lnTo>
                  <a:pt x="8469042" y="4243264"/>
                </a:lnTo>
                <a:lnTo>
                  <a:pt x="0" y="4243264"/>
                </a:lnTo>
                <a:lnTo>
                  <a:pt x="3796615" y="446648"/>
                </a:lnTo>
                <a:cubicBezTo>
                  <a:pt x="4084601" y="158661"/>
                  <a:pt x="4467587" y="0"/>
                  <a:pt x="4874901" y="0"/>
                </a:cubicBezTo>
                <a:close/>
              </a:path>
            </a:pathLst>
          </a:custGeom>
          <a:pattFill prst="wdUpDiag">
            <a:fgClr>
              <a:srgbClr val="E4DAD4"/>
            </a:fgClr>
            <a:bgClr>
              <a:prstClr val="white"/>
            </a:bgClr>
          </a:pattFill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7ED6EFE-899D-C85F-57F6-575CB8DFA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Ihr Kontakt zur NetCom BW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1C38A74-E96E-40CF-9D81-DC410EF1DE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131039"/>
            <a:ext cx="5399980" cy="514276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llgemeine Informationen</a:t>
            </a:r>
          </a:p>
          <a:p>
            <a:pPr lvl="1">
              <a:spcAft>
                <a:spcPts val="1200"/>
              </a:spcAft>
            </a:pPr>
            <a:r>
              <a:rPr lang="de-DE" sz="1400" dirty="0">
                <a:ea typeface="EnBW Sans Text" pitchFamily="50" charset="0"/>
              </a:rPr>
              <a:t>www.netcom-bw.de/neuhausen-ob-eck</a:t>
            </a:r>
            <a:endParaRPr lang="de-DE" sz="1400" dirty="0">
              <a:latin typeface="EnBW Sans Text" pitchFamily="50" charset="0"/>
              <a:ea typeface="EnBW Sans Text" pitchFamily="50" charset="0"/>
            </a:endParaRPr>
          </a:p>
          <a:p>
            <a:pPr>
              <a:spcAft>
                <a:spcPts val="200"/>
              </a:spcAft>
            </a:pP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nsprechpartner für Glasfaserhausanschluss</a:t>
            </a:r>
          </a:p>
          <a:p>
            <a:pPr lvl="1">
              <a:spcAft>
                <a:spcPts val="1200"/>
              </a:spcAft>
            </a:pPr>
            <a:r>
              <a:rPr lang="de-DE" sz="1400" dirty="0">
                <a:ea typeface="EnBW Sans Text" pitchFamily="50" charset="0"/>
              </a:rPr>
              <a:t>Gemeinde Neuhausen ob Eck</a:t>
            </a:r>
          </a:p>
          <a:p>
            <a:pPr>
              <a:spcAft>
                <a:spcPts val="200"/>
              </a:spcAft>
            </a:pP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nsprechpartner für Internet und Telefonie</a:t>
            </a:r>
          </a:p>
          <a:p>
            <a:pPr lvl="1">
              <a:spcAft>
                <a:spcPts val="1200"/>
              </a:spcAft>
            </a:pPr>
            <a:r>
              <a:rPr lang="de-DE" sz="1400" dirty="0">
                <a:ea typeface="EnBW Sans Text" pitchFamily="50" charset="0"/>
              </a:rPr>
              <a:t>NetCom BW GmbH</a:t>
            </a:r>
          </a:p>
          <a:p>
            <a:pPr>
              <a:spcAft>
                <a:spcPts val="600"/>
              </a:spcAft>
            </a:pP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Privatkunden</a:t>
            </a:r>
          </a:p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Christoph Kempter (Vertriebspartner)</a:t>
            </a:r>
          </a:p>
          <a:p>
            <a:pPr lvl="1">
              <a:spcAft>
                <a:spcPts val="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Telefon: </a:t>
            </a:r>
            <a:r>
              <a:rPr lang="de-DE" sz="1400" dirty="0">
                <a:latin typeface="EnBW Sans Text" pitchFamily="50" charset="0"/>
                <a:ea typeface="EnBW Sans Text" pitchFamily="50" charset="0"/>
                <a:sym typeface="EnBW DIN Pro"/>
              </a:rPr>
              <a:t>+49 175 4164330</a:t>
            </a:r>
          </a:p>
          <a:p>
            <a:pPr lvl="1">
              <a:spcAft>
                <a:spcPts val="120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  <a:sym typeface="EnBW DIN Pro"/>
              </a:rPr>
              <a:t>E-Mail: christoph.kempter@netcom-mail.de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endParaRPr lang="de-DE" sz="1400" dirty="0">
              <a:latin typeface="EnBW Sans Text" pitchFamily="50" charset="0"/>
              <a:ea typeface="EnBW Sans Text" pitchFamily="50" charset="0"/>
            </a:endParaRPr>
          </a:p>
          <a:p>
            <a:pPr lvl="1">
              <a:spcAft>
                <a:spcPts val="600"/>
              </a:spcAft>
            </a:pP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Geschäftskunden</a:t>
            </a:r>
          </a:p>
          <a:p>
            <a:pPr lvl="1"/>
            <a:r>
              <a:rPr lang="de-DE" sz="1400" dirty="0">
                <a:latin typeface="EnBW Sans Text" pitchFamily="50" charset="0"/>
                <a:ea typeface="EnBW Sans Text" pitchFamily="50" charset="0"/>
              </a:rPr>
              <a:t>Michael Lisa</a:t>
            </a:r>
          </a:p>
          <a:p>
            <a:pPr lvl="1"/>
            <a:r>
              <a:rPr lang="en-GB" sz="1400" dirty="0">
                <a:latin typeface="EnBW Sans Text" pitchFamily="50" charset="0"/>
                <a:ea typeface="EnBW Sans Text" pitchFamily="50" charset="0"/>
              </a:rPr>
              <a:t>E-Mail: m</a:t>
            </a:r>
            <a:r>
              <a:rPr lang="en-GB" sz="1400" dirty="0">
                <a:ea typeface="EnBW Sans Text" pitchFamily="50" charset="0"/>
              </a:rPr>
              <a:t>ichael.lisa</a:t>
            </a:r>
            <a:r>
              <a:rPr lang="en-GB" sz="1400" dirty="0">
                <a:latin typeface="EnBW Sans Text" pitchFamily="50" charset="0"/>
                <a:ea typeface="EnBW Sans Text" pitchFamily="50" charset="0"/>
              </a:rPr>
              <a:t>@netcom-bw.de</a:t>
            </a:r>
          </a:p>
          <a:p>
            <a:pPr lvl="1"/>
            <a:r>
              <a:rPr lang="de-DE" sz="1400" dirty="0">
                <a:latin typeface="EnBW Sans Text" pitchFamily="50" charset="0"/>
                <a:ea typeface="EnBW Sans Text" pitchFamily="50" charset="0"/>
              </a:rPr>
              <a:t>Telefon: +49 711 289-20686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www.netcom-bw.de/kontaktformular</a:t>
            </a:r>
          </a:p>
          <a:p>
            <a:pPr lvl="1"/>
            <a:endParaRPr lang="de-DE" sz="1400" dirty="0"/>
          </a:p>
          <a:p>
            <a:endParaRPr lang="de-DE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B94EE18-C4C4-C12E-F03E-793C5CD36D38}"/>
              </a:ext>
            </a:extLst>
          </p:cNvPr>
          <p:cNvSpPr/>
          <p:nvPr/>
        </p:nvSpPr>
        <p:spPr bwMode="gray">
          <a:xfrm>
            <a:off x="5814263" y="1131039"/>
            <a:ext cx="1462046" cy="1462046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 Medium" panose="020B0604020101020102" pitchFamily="34" charset="0"/>
              </a:rPr>
              <a:t>Sie haben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 Medium" panose="020B0604020101020102" pitchFamily="34" charset="0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 Medium" panose="020B0604020101020102" pitchFamily="34" charset="0"/>
              </a:rPr>
              <a:t>Fragen?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 Medium" panose="020B0604020101020102" pitchFamily="34" charset="0"/>
              </a:rPr>
              <a:t>Wir helfen Ihnen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 Medium" panose="020B0604020101020102" pitchFamily="34" charset="0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Sans Text" pitchFamily="50" charset="0"/>
                <a:ea typeface="EnBW Sans Text" pitchFamily="50" charset="0"/>
                <a:cs typeface="EnBW DIN Pro Medium" panose="020B0604020101020102" pitchFamily="34" charset="0"/>
              </a:rPr>
              <a:t>gerne weiter!</a:t>
            </a:r>
          </a:p>
        </p:txBody>
      </p:sp>
    </p:spTree>
    <p:extLst>
      <p:ext uri="{BB962C8B-B14F-4D97-AF65-F5344CB8AC3E}">
        <p14:creationId xmlns:p14="http://schemas.microsoft.com/office/powerpoint/2010/main" val="200642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52B34A2-C55D-7372-A14F-DBC5090FD91B}"/>
              </a:ext>
            </a:extLst>
          </p:cNvPr>
          <p:cNvCxnSpPr>
            <a:cxnSpLocks/>
          </p:cNvCxnSpPr>
          <p:nvPr/>
        </p:nvCxnSpPr>
        <p:spPr>
          <a:xfrm>
            <a:off x="3431704" y="1881188"/>
            <a:ext cx="0" cy="176710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B9DB9F6D-E4E1-EA05-73B2-12A60ECB7CF1}"/>
              </a:ext>
            </a:extLst>
          </p:cNvPr>
          <p:cNvCxnSpPr>
            <a:cxnSpLocks/>
          </p:cNvCxnSpPr>
          <p:nvPr/>
        </p:nvCxnSpPr>
        <p:spPr>
          <a:xfrm>
            <a:off x="407988" y="4011179"/>
            <a:ext cx="662401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2C9D515-024C-3F62-ACEE-C66D5AE2CCB2}"/>
              </a:ext>
            </a:extLst>
          </p:cNvPr>
          <p:cNvSpPr/>
          <p:nvPr/>
        </p:nvSpPr>
        <p:spPr>
          <a:xfrm>
            <a:off x="3000000" y="3645000"/>
            <a:ext cx="864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38AA38D2-6EBF-9C08-18B8-D18B39CC672D}"/>
              </a:ext>
            </a:extLst>
          </p:cNvPr>
          <p:cNvGrpSpPr/>
          <p:nvPr/>
        </p:nvGrpSpPr>
        <p:grpSpPr>
          <a:xfrm>
            <a:off x="7933754" y="1845000"/>
            <a:ext cx="6007219" cy="4568680"/>
            <a:chOff x="4182283" y="3113659"/>
            <a:chExt cx="2840434" cy="2160240"/>
          </a:xfrm>
        </p:grpSpPr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A4C8AD4-F3D6-5D0C-97F2-87E589133BE5}"/>
                </a:ext>
              </a:extLst>
            </p:cNvPr>
            <p:cNvSpPr/>
            <p:nvPr/>
          </p:nvSpPr>
          <p:spPr>
            <a:xfrm>
              <a:off x="4781285" y="4906245"/>
              <a:ext cx="386110" cy="216026"/>
            </a:xfrm>
            <a:custGeom>
              <a:avLst/>
              <a:gdLst>
                <a:gd name="connsiteX0" fmla="*/ 371111 w 372315"/>
                <a:gd name="connsiteY0" fmla="*/ 178199 h 208308"/>
                <a:gd name="connsiteX1" fmla="*/ 350698 w 372315"/>
                <a:gd name="connsiteY1" fmla="*/ 171564 h 208308"/>
                <a:gd name="connsiteX2" fmla="*/ 350188 w 372315"/>
                <a:gd name="connsiteY2" fmla="*/ 171820 h 208308"/>
                <a:gd name="connsiteX3" fmla="*/ 348019 w 372315"/>
                <a:gd name="connsiteY3" fmla="*/ 172202 h 208308"/>
                <a:gd name="connsiteX4" fmla="*/ 348274 w 372315"/>
                <a:gd name="connsiteY4" fmla="*/ 170289 h 208308"/>
                <a:gd name="connsiteX5" fmla="*/ 348274 w 372315"/>
                <a:gd name="connsiteY5" fmla="*/ 165313 h 208308"/>
                <a:gd name="connsiteX6" fmla="*/ 347764 w 372315"/>
                <a:gd name="connsiteY6" fmla="*/ 164675 h 208308"/>
                <a:gd name="connsiteX7" fmla="*/ 337302 w 372315"/>
                <a:gd name="connsiteY7" fmla="*/ 156765 h 208308"/>
                <a:gd name="connsiteX8" fmla="*/ 336919 w 372315"/>
                <a:gd name="connsiteY8" fmla="*/ 156637 h 208308"/>
                <a:gd name="connsiteX9" fmla="*/ 331943 w 372315"/>
                <a:gd name="connsiteY9" fmla="*/ 155361 h 208308"/>
                <a:gd name="connsiteX10" fmla="*/ 320461 w 372315"/>
                <a:gd name="connsiteY10" fmla="*/ 150896 h 208308"/>
                <a:gd name="connsiteX11" fmla="*/ 314847 w 372315"/>
                <a:gd name="connsiteY11" fmla="*/ 149875 h 208308"/>
                <a:gd name="connsiteX12" fmla="*/ 303747 w 372315"/>
                <a:gd name="connsiteY12" fmla="*/ 147068 h 208308"/>
                <a:gd name="connsiteX13" fmla="*/ 296730 w 372315"/>
                <a:gd name="connsiteY13" fmla="*/ 143751 h 208308"/>
                <a:gd name="connsiteX14" fmla="*/ 296602 w 372315"/>
                <a:gd name="connsiteY14" fmla="*/ 143496 h 208308"/>
                <a:gd name="connsiteX15" fmla="*/ 293923 w 372315"/>
                <a:gd name="connsiteY15" fmla="*/ 142858 h 208308"/>
                <a:gd name="connsiteX16" fmla="*/ 292647 w 372315"/>
                <a:gd name="connsiteY16" fmla="*/ 142858 h 208308"/>
                <a:gd name="connsiteX17" fmla="*/ 290861 w 372315"/>
                <a:gd name="connsiteY17" fmla="*/ 136479 h 208308"/>
                <a:gd name="connsiteX18" fmla="*/ 284099 w 372315"/>
                <a:gd name="connsiteY18" fmla="*/ 121296 h 208308"/>
                <a:gd name="connsiteX19" fmla="*/ 282058 w 372315"/>
                <a:gd name="connsiteY19" fmla="*/ 119000 h 208308"/>
                <a:gd name="connsiteX20" fmla="*/ 263941 w 372315"/>
                <a:gd name="connsiteY20" fmla="*/ 107262 h 208308"/>
                <a:gd name="connsiteX21" fmla="*/ 251055 w 372315"/>
                <a:gd name="connsiteY21" fmla="*/ 102414 h 208308"/>
                <a:gd name="connsiteX22" fmla="*/ 231407 w 372315"/>
                <a:gd name="connsiteY22" fmla="*/ 97438 h 208308"/>
                <a:gd name="connsiteX23" fmla="*/ 196832 w 372315"/>
                <a:gd name="connsiteY23" fmla="*/ 92207 h 208308"/>
                <a:gd name="connsiteX24" fmla="*/ 190070 w 372315"/>
                <a:gd name="connsiteY24" fmla="*/ 86338 h 208308"/>
                <a:gd name="connsiteX25" fmla="*/ 183563 w 372315"/>
                <a:gd name="connsiteY25" fmla="*/ 80470 h 208308"/>
                <a:gd name="connsiteX26" fmla="*/ 167743 w 372315"/>
                <a:gd name="connsiteY26" fmla="*/ 66053 h 208308"/>
                <a:gd name="connsiteX27" fmla="*/ 167105 w 372315"/>
                <a:gd name="connsiteY27" fmla="*/ 65415 h 208308"/>
                <a:gd name="connsiteX28" fmla="*/ 152943 w 372315"/>
                <a:gd name="connsiteY28" fmla="*/ 45894 h 208308"/>
                <a:gd name="connsiteX29" fmla="*/ 148478 w 372315"/>
                <a:gd name="connsiteY29" fmla="*/ 41684 h 208308"/>
                <a:gd name="connsiteX30" fmla="*/ 134061 w 372315"/>
                <a:gd name="connsiteY30" fmla="*/ 31095 h 208308"/>
                <a:gd name="connsiteX31" fmla="*/ 117220 w 372315"/>
                <a:gd name="connsiteY31" fmla="*/ 17571 h 208308"/>
                <a:gd name="connsiteX32" fmla="*/ 104716 w 372315"/>
                <a:gd name="connsiteY32" fmla="*/ 7492 h 208308"/>
                <a:gd name="connsiteX33" fmla="*/ 100634 w 372315"/>
                <a:gd name="connsiteY33" fmla="*/ 4812 h 208308"/>
                <a:gd name="connsiteX34" fmla="*/ 87237 w 372315"/>
                <a:gd name="connsiteY34" fmla="*/ 92 h 208308"/>
                <a:gd name="connsiteX35" fmla="*/ 81624 w 372315"/>
                <a:gd name="connsiteY35" fmla="*/ 3154 h 208308"/>
                <a:gd name="connsiteX36" fmla="*/ 82900 w 372315"/>
                <a:gd name="connsiteY36" fmla="*/ 7619 h 208308"/>
                <a:gd name="connsiteX37" fmla="*/ 86855 w 372315"/>
                <a:gd name="connsiteY37" fmla="*/ 13616 h 208308"/>
                <a:gd name="connsiteX38" fmla="*/ 95913 w 372315"/>
                <a:gd name="connsiteY38" fmla="*/ 24078 h 208308"/>
                <a:gd name="connsiteX39" fmla="*/ 106120 w 372315"/>
                <a:gd name="connsiteY39" fmla="*/ 31095 h 208308"/>
                <a:gd name="connsiteX40" fmla="*/ 120409 w 372315"/>
                <a:gd name="connsiteY40" fmla="*/ 40153 h 208308"/>
                <a:gd name="connsiteX41" fmla="*/ 140567 w 372315"/>
                <a:gd name="connsiteY41" fmla="*/ 62480 h 208308"/>
                <a:gd name="connsiteX42" fmla="*/ 142736 w 372315"/>
                <a:gd name="connsiteY42" fmla="*/ 67839 h 208308"/>
                <a:gd name="connsiteX43" fmla="*/ 143630 w 372315"/>
                <a:gd name="connsiteY43" fmla="*/ 69753 h 208308"/>
                <a:gd name="connsiteX44" fmla="*/ 140695 w 372315"/>
                <a:gd name="connsiteY44" fmla="*/ 85318 h 208308"/>
                <a:gd name="connsiteX45" fmla="*/ 129850 w 372315"/>
                <a:gd name="connsiteY45" fmla="*/ 84297 h 208308"/>
                <a:gd name="connsiteX46" fmla="*/ 124747 w 372315"/>
                <a:gd name="connsiteY46" fmla="*/ 84425 h 208308"/>
                <a:gd name="connsiteX47" fmla="*/ 124492 w 372315"/>
                <a:gd name="connsiteY47" fmla="*/ 84425 h 208308"/>
                <a:gd name="connsiteX48" fmla="*/ 111478 w 372315"/>
                <a:gd name="connsiteY48" fmla="*/ 78173 h 208308"/>
                <a:gd name="connsiteX49" fmla="*/ 94893 w 372315"/>
                <a:gd name="connsiteY49" fmla="*/ 64011 h 208308"/>
                <a:gd name="connsiteX50" fmla="*/ 71672 w 372315"/>
                <a:gd name="connsiteY50" fmla="*/ 52529 h 208308"/>
                <a:gd name="connsiteX51" fmla="*/ 71290 w 372315"/>
                <a:gd name="connsiteY51" fmla="*/ 52274 h 208308"/>
                <a:gd name="connsiteX52" fmla="*/ 59297 w 372315"/>
                <a:gd name="connsiteY52" fmla="*/ 48701 h 208308"/>
                <a:gd name="connsiteX53" fmla="*/ 58148 w 372315"/>
                <a:gd name="connsiteY53" fmla="*/ 50360 h 208308"/>
                <a:gd name="connsiteX54" fmla="*/ 60572 w 372315"/>
                <a:gd name="connsiteY54" fmla="*/ 54315 h 208308"/>
                <a:gd name="connsiteX55" fmla="*/ 61338 w 372315"/>
                <a:gd name="connsiteY55" fmla="*/ 54953 h 208308"/>
                <a:gd name="connsiteX56" fmla="*/ 62997 w 372315"/>
                <a:gd name="connsiteY56" fmla="*/ 56229 h 208308"/>
                <a:gd name="connsiteX57" fmla="*/ 63890 w 372315"/>
                <a:gd name="connsiteY57" fmla="*/ 56867 h 208308"/>
                <a:gd name="connsiteX58" fmla="*/ 63634 w 372315"/>
                <a:gd name="connsiteY58" fmla="*/ 57249 h 208308"/>
                <a:gd name="connsiteX59" fmla="*/ 59552 w 372315"/>
                <a:gd name="connsiteY59" fmla="*/ 56994 h 208308"/>
                <a:gd name="connsiteX60" fmla="*/ 58404 w 372315"/>
                <a:gd name="connsiteY60" fmla="*/ 55973 h 208308"/>
                <a:gd name="connsiteX61" fmla="*/ 56617 w 372315"/>
                <a:gd name="connsiteY61" fmla="*/ 54570 h 208308"/>
                <a:gd name="connsiteX62" fmla="*/ 53811 w 372315"/>
                <a:gd name="connsiteY62" fmla="*/ 52274 h 208308"/>
                <a:gd name="connsiteX63" fmla="*/ 47431 w 372315"/>
                <a:gd name="connsiteY63" fmla="*/ 48319 h 208308"/>
                <a:gd name="connsiteX64" fmla="*/ 46921 w 372315"/>
                <a:gd name="connsiteY64" fmla="*/ 48319 h 208308"/>
                <a:gd name="connsiteX65" fmla="*/ 40032 w 372315"/>
                <a:gd name="connsiteY65" fmla="*/ 50232 h 208308"/>
                <a:gd name="connsiteX66" fmla="*/ 42966 w 372315"/>
                <a:gd name="connsiteY66" fmla="*/ 56867 h 208308"/>
                <a:gd name="connsiteX67" fmla="*/ 46921 w 372315"/>
                <a:gd name="connsiteY67" fmla="*/ 59929 h 208308"/>
                <a:gd name="connsiteX68" fmla="*/ 56490 w 372315"/>
                <a:gd name="connsiteY68" fmla="*/ 66435 h 208308"/>
                <a:gd name="connsiteX69" fmla="*/ 60955 w 372315"/>
                <a:gd name="connsiteY69" fmla="*/ 70646 h 208308"/>
                <a:gd name="connsiteX70" fmla="*/ 58276 w 372315"/>
                <a:gd name="connsiteY70" fmla="*/ 77152 h 208308"/>
                <a:gd name="connsiteX71" fmla="*/ 47431 w 372315"/>
                <a:gd name="connsiteY71" fmla="*/ 84935 h 208308"/>
                <a:gd name="connsiteX72" fmla="*/ 41690 w 372315"/>
                <a:gd name="connsiteY72" fmla="*/ 87359 h 208308"/>
                <a:gd name="connsiteX73" fmla="*/ 24466 w 372315"/>
                <a:gd name="connsiteY73" fmla="*/ 95269 h 208308"/>
                <a:gd name="connsiteX74" fmla="*/ 18470 w 372315"/>
                <a:gd name="connsiteY74" fmla="*/ 95780 h 208308"/>
                <a:gd name="connsiteX75" fmla="*/ 6605 w 372315"/>
                <a:gd name="connsiteY75" fmla="*/ 93738 h 208308"/>
                <a:gd name="connsiteX76" fmla="*/ 1884 w 372315"/>
                <a:gd name="connsiteY76" fmla="*/ 92973 h 208308"/>
                <a:gd name="connsiteX77" fmla="*/ 1884 w 372315"/>
                <a:gd name="connsiteY77" fmla="*/ 92973 h 208308"/>
                <a:gd name="connsiteX78" fmla="*/ 98 w 372315"/>
                <a:gd name="connsiteY78" fmla="*/ 93993 h 208308"/>
                <a:gd name="connsiteX79" fmla="*/ 736 w 372315"/>
                <a:gd name="connsiteY79" fmla="*/ 95907 h 208308"/>
                <a:gd name="connsiteX80" fmla="*/ 39011 w 372315"/>
                <a:gd name="connsiteY80" fmla="*/ 99607 h 208308"/>
                <a:gd name="connsiteX81" fmla="*/ 49345 w 372315"/>
                <a:gd name="connsiteY81" fmla="*/ 95142 h 208308"/>
                <a:gd name="connsiteX82" fmla="*/ 68610 w 372315"/>
                <a:gd name="connsiteY82" fmla="*/ 86594 h 208308"/>
                <a:gd name="connsiteX83" fmla="*/ 71672 w 372315"/>
                <a:gd name="connsiteY83" fmla="*/ 85063 h 208308"/>
                <a:gd name="connsiteX84" fmla="*/ 77541 w 372315"/>
                <a:gd name="connsiteY84" fmla="*/ 82383 h 208308"/>
                <a:gd name="connsiteX85" fmla="*/ 77541 w 372315"/>
                <a:gd name="connsiteY85" fmla="*/ 82383 h 208308"/>
                <a:gd name="connsiteX86" fmla="*/ 77541 w 372315"/>
                <a:gd name="connsiteY86" fmla="*/ 82894 h 208308"/>
                <a:gd name="connsiteX87" fmla="*/ 78051 w 372315"/>
                <a:gd name="connsiteY87" fmla="*/ 82894 h 208308"/>
                <a:gd name="connsiteX88" fmla="*/ 79200 w 372315"/>
                <a:gd name="connsiteY88" fmla="*/ 81745 h 208308"/>
                <a:gd name="connsiteX89" fmla="*/ 79710 w 372315"/>
                <a:gd name="connsiteY89" fmla="*/ 81745 h 208308"/>
                <a:gd name="connsiteX90" fmla="*/ 80220 w 372315"/>
                <a:gd name="connsiteY90" fmla="*/ 81235 h 208308"/>
                <a:gd name="connsiteX91" fmla="*/ 80476 w 372315"/>
                <a:gd name="connsiteY91" fmla="*/ 81235 h 208308"/>
                <a:gd name="connsiteX92" fmla="*/ 82517 w 372315"/>
                <a:gd name="connsiteY92" fmla="*/ 81235 h 208308"/>
                <a:gd name="connsiteX93" fmla="*/ 85962 w 372315"/>
                <a:gd name="connsiteY93" fmla="*/ 83404 h 208308"/>
                <a:gd name="connsiteX94" fmla="*/ 89406 w 372315"/>
                <a:gd name="connsiteY94" fmla="*/ 81235 h 208308"/>
                <a:gd name="connsiteX95" fmla="*/ 89406 w 372315"/>
                <a:gd name="connsiteY95" fmla="*/ 81745 h 208308"/>
                <a:gd name="connsiteX96" fmla="*/ 89406 w 372315"/>
                <a:gd name="connsiteY96" fmla="*/ 82894 h 208308"/>
                <a:gd name="connsiteX97" fmla="*/ 92213 w 372315"/>
                <a:gd name="connsiteY97" fmla="*/ 85701 h 208308"/>
                <a:gd name="connsiteX98" fmla="*/ 92213 w 372315"/>
                <a:gd name="connsiteY98" fmla="*/ 84552 h 208308"/>
                <a:gd name="connsiteX99" fmla="*/ 96168 w 372315"/>
                <a:gd name="connsiteY99" fmla="*/ 84042 h 208308"/>
                <a:gd name="connsiteX100" fmla="*/ 96679 w 372315"/>
                <a:gd name="connsiteY100" fmla="*/ 83532 h 208308"/>
                <a:gd name="connsiteX101" fmla="*/ 99741 w 372315"/>
                <a:gd name="connsiteY101" fmla="*/ 85063 h 208308"/>
                <a:gd name="connsiteX102" fmla="*/ 101144 w 372315"/>
                <a:gd name="connsiteY102" fmla="*/ 86211 h 208308"/>
                <a:gd name="connsiteX103" fmla="*/ 105865 w 372315"/>
                <a:gd name="connsiteY103" fmla="*/ 88125 h 208308"/>
                <a:gd name="connsiteX104" fmla="*/ 105865 w 372315"/>
                <a:gd name="connsiteY104" fmla="*/ 88125 h 208308"/>
                <a:gd name="connsiteX105" fmla="*/ 129723 w 372315"/>
                <a:gd name="connsiteY105" fmla="*/ 90931 h 208308"/>
                <a:gd name="connsiteX106" fmla="*/ 130616 w 372315"/>
                <a:gd name="connsiteY106" fmla="*/ 90676 h 208308"/>
                <a:gd name="connsiteX107" fmla="*/ 139419 w 372315"/>
                <a:gd name="connsiteY107" fmla="*/ 89528 h 208308"/>
                <a:gd name="connsiteX108" fmla="*/ 140185 w 372315"/>
                <a:gd name="connsiteY108" fmla="*/ 93738 h 208308"/>
                <a:gd name="connsiteX109" fmla="*/ 139930 w 372315"/>
                <a:gd name="connsiteY109" fmla="*/ 98459 h 208308"/>
                <a:gd name="connsiteX110" fmla="*/ 140950 w 372315"/>
                <a:gd name="connsiteY110" fmla="*/ 101776 h 208308"/>
                <a:gd name="connsiteX111" fmla="*/ 150264 w 372315"/>
                <a:gd name="connsiteY111" fmla="*/ 107390 h 208308"/>
                <a:gd name="connsiteX112" fmla="*/ 154857 w 372315"/>
                <a:gd name="connsiteY112" fmla="*/ 108283 h 208308"/>
                <a:gd name="connsiteX113" fmla="*/ 164043 w 372315"/>
                <a:gd name="connsiteY113" fmla="*/ 110835 h 208308"/>
                <a:gd name="connsiteX114" fmla="*/ 165319 w 372315"/>
                <a:gd name="connsiteY114" fmla="*/ 111345 h 208308"/>
                <a:gd name="connsiteX115" fmla="*/ 166977 w 372315"/>
                <a:gd name="connsiteY115" fmla="*/ 113897 h 208308"/>
                <a:gd name="connsiteX116" fmla="*/ 167360 w 372315"/>
                <a:gd name="connsiteY116" fmla="*/ 115555 h 208308"/>
                <a:gd name="connsiteX117" fmla="*/ 172463 w 372315"/>
                <a:gd name="connsiteY117" fmla="*/ 120403 h 208308"/>
                <a:gd name="connsiteX118" fmla="*/ 173994 w 372315"/>
                <a:gd name="connsiteY118" fmla="*/ 120786 h 208308"/>
                <a:gd name="connsiteX119" fmla="*/ 174888 w 372315"/>
                <a:gd name="connsiteY119" fmla="*/ 120148 h 208308"/>
                <a:gd name="connsiteX120" fmla="*/ 178460 w 372315"/>
                <a:gd name="connsiteY120" fmla="*/ 123210 h 208308"/>
                <a:gd name="connsiteX121" fmla="*/ 186243 w 372315"/>
                <a:gd name="connsiteY121" fmla="*/ 129334 h 208308"/>
                <a:gd name="connsiteX122" fmla="*/ 206784 w 372315"/>
                <a:gd name="connsiteY122" fmla="*/ 136607 h 208308"/>
                <a:gd name="connsiteX123" fmla="*/ 207039 w 372315"/>
                <a:gd name="connsiteY123" fmla="*/ 136607 h 208308"/>
                <a:gd name="connsiteX124" fmla="*/ 207039 w 372315"/>
                <a:gd name="connsiteY124" fmla="*/ 137117 h 208308"/>
                <a:gd name="connsiteX125" fmla="*/ 209335 w 372315"/>
                <a:gd name="connsiteY125" fmla="*/ 139413 h 208308"/>
                <a:gd name="connsiteX126" fmla="*/ 209973 w 372315"/>
                <a:gd name="connsiteY126" fmla="*/ 139796 h 208308"/>
                <a:gd name="connsiteX127" fmla="*/ 223880 w 372315"/>
                <a:gd name="connsiteY127" fmla="*/ 148472 h 208308"/>
                <a:gd name="connsiteX128" fmla="*/ 226049 w 372315"/>
                <a:gd name="connsiteY128" fmla="*/ 150130 h 208308"/>
                <a:gd name="connsiteX129" fmla="*/ 225538 w 372315"/>
                <a:gd name="connsiteY129" fmla="*/ 151023 h 208308"/>
                <a:gd name="connsiteX130" fmla="*/ 227197 w 372315"/>
                <a:gd name="connsiteY130" fmla="*/ 154341 h 208308"/>
                <a:gd name="connsiteX131" fmla="*/ 227197 w 372315"/>
                <a:gd name="connsiteY131" fmla="*/ 159954 h 208308"/>
                <a:gd name="connsiteX132" fmla="*/ 228855 w 372315"/>
                <a:gd name="connsiteY132" fmla="*/ 167354 h 208308"/>
                <a:gd name="connsiteX133" fmla="*/ 234852 w 372315"/>
                <a:gd name="connsiteY133" fmla="*/ 173733 h 208308"/>
                <a:gd name="connsiteX134" fmla="*/ 240848 w 372315"/>
                <a:gd name="connsiteY134" fmla="*/ 178454 h 208308"/>
                <a:gd name="connsiteX135" fmla="*/ 248759 w 372315"/>
                <a:gd name="connsiteY135" fmla="*/ 184450 h 208308"/>
                <a:gd name="connsiteX136" fmla="*/ 250927 w 372315"/>
                <a:gd name="connsiteY136" fmla="*/ 186237 h 208308"/>
                <a:gd name="connsiteX137" fmla="*/ 250417 w 372315"/>
                <a:gd name="connsiteY137" fmla="*/ 190447 h 208308"/>
                <a:gd name="connsiteX138" fmla="*/ 251565 w 372315"/>
                <a:gd name="connsiteY138" fmla="*/ 190447 h 208308"/>
                <a:gd name="connsiteX139" fmla="*/ 255265 w 372315"/>
                <a:gd name="connsiteY139" fmla="*/ 191595 h 208308"/>
                <a:gd name="connsiteX140" fmla="*/ 255520 w 372315"/>
                <a:gd name="connsiteY140" fmla="*/ 192105 h 208308"/>
                <a:gd name="connsiteX141" fmla="*/ 256158 w 372315"/>
                <a:gd name="connsiteY141" fmla="*/ 193764 h 208308"/>
                <a:gd name="connsiteX142" fmla="*/ 256541 w 372315"/>
                <a:gd name="connsiteY142" fmla="*/ 194019 h 208308"/>
                <a:gd name="connsiteX143" fmla="*/ 257945 w 372315"/>
                <a:gd name="connsiteY143" fmla="*/ 199505 h 208308"/>
                <a:gd name="connsiteX144" fmla="*/ 265855 w 372315"/>
                <a:gd name="connsiteY144" fmla="*/ 207160 h 208308"/>
                <a:gd name="connsiteX145" fmla="*/ 268789 w 372315"/>
                <a:gd name="connsiteY145" fmla="*/ 208181 h 208308"/>
                <a:gd name="connsiteX146" fmla="*/ 269555 w 372315"/>
                <a:gd name="connsiteY146" fmla="*/ 208309 h 208308"/>
                <a:gd name="connsiteX147" fmla="*/ 283206 w 372315"/>
                <a:gd name="connsiteY147" fmla="*/ 208309 h 208308"/>
                <a:gd name="connsiteX148" fmla="*/ 283717 w 372315"/>
                <a:gd name="connsiteY148" fmla="*/ 208309 h 208308"/>
                <a:gd name="connsiteX149" fmla="*/ 284099 w 372315"/>
                <a:gd name="connsiteY149" fmla="*/ 208309 h 208308"/>
                <a:gd name="connsiteX150" fmla="*/ 289075 w 372315"/>
                <a:gd name="connsiteY150" fmla="*/ 206395 h 208308"/>
                <a:gd name="connsiteX151" fmla="*/ 292265 w 372315"/>
                <a:gd name="connsiteY151" fmla="*/ 205884 h 208308"/>
                <a:gd name="connsiteX152" fmla="*/ 298516 w 372315"/>
                <a:gd name="connsiteY152" fmla="*/ 203078 h 208308"/>
                <a:gd name="connsiteX153" fmla="*/ 302982 w 372315"/>
                <a:gd name="connsiteY153" fmla="*/ 198102 h 208308"/>
                <a:gd name="connsiteX154" fmla="*/ 304385 w 372315"/>
                <a:gd name="connsiteY154" fmla="*/ 195295 h 208308"/>
                <a:gd name="connsiteX155" fmla="*/ 305661 w 372315"/>
                <a:gd name="connsiteY155" fmla="*/ 194912 h 208308"/>
                <a:gd name="connsiteX156" fmla="*/ 306299 w 372315"/>
                <a:gd name="connsiteY156" fmla="*/ 199250 h 208308"/>
                <a:gd name="connsiteX157" fmla="*/ 309744 w 372315"/>
                <a:gd name="connsiteY157" fmla="*/ 200909 h 208308"/>
                <a:gd name="connsiteX158" fmla="*/ 312550 w 372315"/>
                <a:gd name="connsiteY158" fmla="*/ 202057 h 208308"/>
                <a:gd name="connsiteX159" fmla="*/ 344702 w 372315"/>
                <a:gd name="connsiteY159" fmla="*/ 192616 h 208308"/>
                <a:gd name="connsiteX160" fmla="*/ 345850 w 372315"/>
                <a:gd name="connsiteY160" fmla="*/ 192105 h 208308"/>
                <a:gd name="connsiteX161" fmla="*/ 345850 w 372315"/>
                <a:gd name="connsiteY161" fmla="*/ 192105 h 208308"/>
                <a:gd name="connsiteX162" fmla="*/ 364094 w 372315"/>
                <a:gd name="connsiteY162" fmla="*/ 190574 h 208308"/>
                <a:gd name="connsiteX163" fmla="*/ 366008 w 372315"/>
                <a:gd name="connsiteY163" fmla="*/ 190064 h 208308"/>
                <a:gd name="connsiteX164" fmla="*/ 372004 w 372315"/>
                <a:gd name="connsiteY164" fmla="*/ 185726 h 208308"/>
                <a:gd name="connsiteX165" fmla="*/ 369963 w 372315"/>
                <a:gd name="connsiteY165" fmla="*/ 177944 h 20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372315" h="208308">
                  <a:moveTo>
                    <a:pt x="371111" y="178199"/>
                  </a:moveTo>
                  <a:cubicBezTo>
                    <a:pt x="366008" y="170289"/>
                    <a:pt x="358863" y="167992"/>
                    <a:pt x="350698" y="171564"/>
                  </a:cubicBezTo>
                  <a:lnTo>
                    <a:pt x="350188" y="171820"/>
                  </a:lnTo>
                  <a:cubicBezTo>
                    <a:pt x="348784" y="172458"/>
                    <a:pt x="348401" y="172458"/>
                    <a:pt x="348019" y="172202"/>
                  </a:cubicBezTo>
                  <a:cubicBezTo>
                    <a:pt x="347636" y="171947"/>
                    <a:pt x="347381" y="171692"/>
                    <a:pt x="348274" y="170289"/>
                  </a:cubicBezTo>
                  <a:cubicBezTo>
                    <a:pt x="348784" y="169523"/>
                    <a:pt x="350060" y="167354"/>
                    <a:pt x="348274" y="165313"/>
                  </a:cubicBezTo>
                  <a:lnTo>
                    <a:pt x="347764" y="164675"/>
                  </a:lnTo>
                  <a:cubicBezTo>
                    <a:pt x="344957" y="161613"/>
                    <a:pt x="342022" y="158296"/>
                    <a:pt x="337302" y="156765"/>
                  </a:cubicBezTo>
                  <a:cubicBezTo>
                    <a:pt x="337174" y="156765"/>
                    <a:pt x="337047" y="156765"/>
                    <a:pt x="336919" y="156637"/>
                  </a:cubicBezTo>
                  <a:cubicBezTo>
                    <a:pt x="335260" y="156127"/>
                    <a:pt x="333602" y="155744"/>
                    <a:pt x="331943" y="155361"/>
                  </a:cubicBezTo>
                  <a:cubicBezTo>
                    <a:pt x="327733" y="154341"/>
                    <a:pt x="323778" y="153447"/>
                    <a:pt x="320461" y="150896"/>
                  </a:cubicBezTo>
                  <a:cubicBezTo>
                    <a:pt x="318930" y="149748"/>
                    <a:pt x="316378" y="149492"/>
                    <a:pt x="314847" y="149875"/>
                  </a:cubicBezTo>
                  <a:cubicBezTo>
                    <a:pt x="310126" y="150641"/>
                    <a:pt x="307319" y="149110"/>
                    <a:pt x="303747" y="147068"/>
                  </a:cubicBezTo>
                  <a:cubicBezTo>
                    <a:pt x="301833" y="145920"/>
                    <a:pt x="299537" y="144644"/>
                    <a:pt x="296730" y="143751"/>
                  </a:cubicBezTo>
                  <a:cubicBezTo>
                    <a:pt x="296730" y="143751"/>
                    <a:pt x="296730" y="143623"/>
                    <a:pt x="296602" y="143496"/>
                  </a:cubicBezTo>
                  <a:cubicBezTo>
                    <a:pt x="295837" y="142730"/>
                    <a:pt x="294816" y="142730"/>
                    <a:pt x="293923" y="142858"/>
                  </a:cubicBezTo>
                  <a:cubicBezTo>
                    <a:pt x="293540" y="142858"/>
                    <a:pt x="292775" y="142858"/>
                    <a:pt x="292647" y="142858"/>
                  </a:cubicBezTo>
                  <a:cubicBezTo>
                    <a:pt x="291882" y="140817"/>
                    <a:pt x="291372" y="138648"/>
                    <a:pt x="290861" y="136479"/>
                  </a:cubicBezTo>
                  <a:cubicBezTo>
                    <a:pt x="289585" y="131376"/>
                    <a:pt x="288310" y="126017"/>
                    <a:pt x="284099" y="121296"/>
                  </a:cubicBezTo>
                  <a:cubicBezTo>
                    <a:pt x="283334" y="120531"/>
                    <a:pt x="282696" y="119765"/>
                    <a:pt x="282058" y="119000"/>
                  </a:cubicBezTo>
                  <a:cubicBezTo>
                    <a:pt x="277337" y="113641"/>
                    <a:pt x="272489" y="108028"/>
                    <a:pt x="263941" y="107262"/>
                  </a:cubicBezTo>
                  <a:cubicBezTo>
                    <a:pt x="259731" y="106879"/>
                    <a:pt x="255648" y="105348"/>
                    <a:pt x="251055" y="102414"/>
                  </a:cubicBezTo>
                  <a:cubicBezTo>
                    <a:pt x="245952" y="99097"/>
                    <a:pt x="239573" y="95907"/>
                    <a:pt x="231407" y="97438"/>
                  </a:cubicBezTo>
                  <a:cubicBezTo>
                    <a:pt x="219669" y="99735"/>
                    <a:pt x="207421" y="100628"/>
                    <a:pt x="196832" y="92207"/>
                  </a:cubicBezTo>
                  <a:cubicBezTo>
                    <a:pt x="194535" y="90294"/>
                    <a:pt x="192239" y="88252"/>
                    <a:pt x="190070" y="86338"/>
                  </a:cubicBezTo>
                  <a:cubicBezTo>
                    <a:pt x="188029" y="84425"/>
                    <a:pt x="185860" y="82383"/>
                    <a:pt x="183563" y="80470"/>
                  </a:cubicBezTo>
                  <a:cubicBezTo>
                    <a:pt x="177950" y="76004"/>
                    <a:pt x="172846" y="70901"/>
                    <a:pt x="167743" y="66053"/>
                  </a:cubicBezTo>
                  <a:lnTo>
                    <a:pt x="167105" y="65415"/>
                  </a:lnTo>
                  <a:cubicBezTo>
                    <a:pt x="164808" y="56867"/>
                    <a:pt x="158812" y="51253"/>
                    <a:pt x="152943" y="45894"/>
                  </a:cubicBezTo>
                  <a:cubicBezTo>
                    <a:pt x="151412" y="44491"/>
                    <a:pt x="149881" y="43088"/>
                    <a:pt x="148478" y="41684"/>
                  </a:cubicBezTo>
                  <a:cubicBezTo>
                    <a:pt x="144140" y="37346"/>
                    <a:pt x="139037" y="34157"/>
                    <a:pt x="134061" y="31095"/>
                  </a:cubicBezTo>
                  <a:cubicBezTo>
                    <a:pt x="127682" y="27140"/>
                    <a:pt x="121685" y="23440"/>
                    <a:pt x="117220" y="17571"/>
                  </a:cubicBezTo>
                  <a:cubicBezTo>
                    <a:pt x="114030" y="13361"/>
                    <a:pt x="109310" y="10426"/>
                    <a:pt x="104716" y="7492"/>
                  </a:cubicBezTo>
                  <a:lnTo>
                    <a:pt x="100634" y="4812"/>
                  </a:lnTo>
                  <a:cubicBezTo>
                    <a:pt x="96934" y="2261"/>
                    <a:pt x="92724" y="-546"/>
                    <a:pt x="87237" y="92"/>
                  </a:cubicBezTo>
                  <a:cubicBezTo>
                    <a:pt x="85196" y="347"/>
                    <a:pt x="82517" y="1112"/>
                    <a:pt x="81624" y="3154"/>
                  </a:cubicBezTo>
                  <a:cubicBezTo>
                    <a:pt x="81241" y="4047"/>
                    <a:pt x="81113" y="5705"/>
                    <a:pt x="82900" y="7619"/>
                  </a:cubicBezTo>
                  <a:cubicBezTo>
                    <a:pt x="84431" y="9405"/>
                    <a:pt x="85579" y="11447"/>
                    <a:pt x="86855" y="13616"/>
                  </a:cubicBezTo>
                  <a:cubicBezTo>
                    <a:pt x="89024" y="17443"/>
                    <a:pt x="91320" y="21398"/>
                    <a:pt x="95913" y="24078"/>
                  </a:cubicBezTo>
                  <a:cubicBezTo>
                    <a:pt x="99486" y="26119"/>
                    <a:pt x="102803" y="28671"/>
                    <a:pt x="106120" y="31095"/>
                  </a:cubicBezTo>
                  <a:cubicBezTo>
                    <a:pt x="110585" y="34540"/>
                    <a:pt x="115178" y="37984"/>
                    <a:pt x="120409" y="40153"/>
                  </a:cubicBezTo>
                  <a:cubicBezTo>
                    <a:pt x="131381" y="44746"/>
                    <a:pt x="137633" y="51636"/>
                    <a:pt x="140567" y="62480"/>
                  </a:cubicBezTo>
                  <a:cubicBezTo>
                    <a:pt x="141078" y="64394"/>
                    <a:pt x="141843" y="66053"/>
                    <a:pt x="142736" y="67839"/>
                  </a:cubicBezTo>
                  <a:cubicBezTo>
                    <a:pt x="142992" y="68477"/>
                    <a:pt x="143374" y="69115"/>
                    <a:pt x="143630" y="69753"/>
                  </a:cubicBezTo>
                  <a:lnTo>
                    <a:pt x="140695" y="85318"/>
                  </a:lnTo>
                  <a:cubicBezTo>
                    <a:pt x="137123" y="83787"/>
                    <a:pt x="133423" y="84042"/>
                    <a:pt x="129850" y="84297"/>
                  </a:cubicBezTo>
                  <a:cubicBezTo>
                    <a:pt x="128064" y="84425"/>
                    <a:pt x="126406" y="84552"/>
                    <a:pt x="124747" y="84425"/>
                  </a:cubicBezTo>
                  <a:cubicBezTo>
                    <a:pt x="124747" y="84425"/>
                    <a:pt x="124620" y="84425"/>
                    <a:pt x="124492" y="84425"/>
                  </a:cubicBezTo>
                  <a:cubicBezTo>
                    <a:pt x="118496" y="84042"/>
                    <a:pt x="114540" y="82894"/>
                    <a:pt x="111478" y="78173"/>
                  </a:cubicBezTo>
                  <a:cubicBezTo>
                    <a:pt x="108161" y="72942"/>
                    <a:pt x="102548" y="66180"/>
                    <a:pt x="94893" y="64011"/>
                  </a:cubicBezTo>
                  <a:cubicBezTo>
                    <a:pt x="86472" y="61460"/>
                    <a:pt x="78817" y="57760"/>
                    <a:pt x="71672" y="52529"/>
                  </a:cubicBezTo>
                  <a:lnTo>
                    <a:pt x="71290" y="52274"/>
                  </a:lnTo>
                  <a:cubicBezTo>
                    <a:pt x="68228" y="49977"/>
                    <a:pt x="64272" y="47298"/>
                    <a:pt x="59297" y="48701"/>
                  </a:cubicBezTo>
                  <a:cubicBezTo>
                    <a:pt x="58531" y="48956"/>
                    <a:pt x="58148" y="49594"/>
                    <a:pt x="58148" y="50360"/>
                  </a:cubicBezTo>
                  <a:cubicBezTo>
                    <a:pt x="58276" y="52656"/>
                    <a:pt x="59679" y="53677"/>
                    <a:pt x="60572" y="54315"/>
                  </a:cubicBezTo>
                  <a:cubicBezTo>
                    <a:pt x="60828" y="54570"/>
                    <a:pt x="61210" y="54698"/>
                    <a:pt x="61338" y="54953"/>
                  </a:cubicBezTo>
                  <a:cubicBezTo>
                    <a:pt x="61848" y="55463"/>
                    <a:pt x="62486" y="55973"/>
                    <a:pt x="62997" y="56229"/>
                  </a:cubicBezTo>
                  <a:cubicBezTo>
                    <a:pt x="63379" y="56484"/>
                    <a:pt x="63890" y="56739"/>
                    <a:pt x="63890" y="56867"/>
                  </a:cubicBezTo>
                  <a:cubicBezTo>
                    <a:pt x="63890" y="56867"/>
                    <a:pt x="63890" y="56994"/>
                    <a:pt x="63634" y="57249"/>
                  </a:cubicBezTo>
                  <a:cubicBezTo>
                    <a:pt x="62997" y="58270"/>
                    <a:pt x="62359" y="58270"/>
                    <a:pt x="59552" y="56994"/>
                  </a:cubicBezTo>
                  <a:cubicBezTo>
                    <a:pt x="59169" y="56867"/>
                    <a:pt x="58786" y="56484"/>
                    <a:pt x="58404" y="55973"/>
                  </a:cubicBezTo>
                  <a:cubicBezTo>
                    <a:pt x="57893" y="55463"/>
                    <a:pt x="57383" y="54953"/>
                    <a:pt x="56617" y="54570"/>
                  </a:cubicBezTo>
                  <a:cubicBezTo>
                    <a:pt x="55597" y="54060"/>
                    <a:pt x="54704" y="53167"/>
                    <a:pt x="53811" y="52274"/>
                  </a:cubicBezTo>
                  <a:cubicBezTo>
                    <a:pt x="52152" y="50615"/>
                    <a:pt x="50366" y="48829"/>
                    <a:pt x="47431" y="48319"/>
                  </a:cubicBezTo>
                  <a:lnTo>
                    <a:pt x="46921" y="48319"/>
                  </a:lnTo>
                  <a:cubicBezTo>
                    <a:pt x="44752" y="47808"/>
                    <a:pt x="41563" y="47298"/>
                    <a:pt x="40032" y="50232"/>
                  </a:cubicBezTo>
                  <a:cubicBezTo>
                    <a:pt x="38245" y="53549"/>
                    <a:pt x="41690" y="55973"/>
                    <a:pt x="42966" y="56867"/>
                  </a:cubicBezTo>
                  <a:cubicBezTo>
                    <a:pt x="44369" y="57887"/>
                    <a:pt x="45645" y="58908"/>
                    <a:pt x="46921" y="59929"/>
                  </a:cubicBezTo>
                  <a:cubicBezTo>
                    <a:pt x="49855" y="62353"/>
                    <a:pt x="52790" y="64777"/>
                    <a:pt x="56490" y="66435"/>
                  </a:cubicBezTo>
                  <a:cubicBezTo>
                    <a:pt x="59041" y="67584"/>
                    <a:pt x="60572" y="68987"/>
                    <a:pt x="60955" y="70646"/>
                  </a:cubicBezTo>
                  <a:cubicBezTo>
                    <a:pt x="61466" y="72942"/>
                    <a:pt x="59807" y="75366"/>
                    <a:pt x="58276" y="77152"/>
                  </a:cubicBezTo>
                  <a:cubicBezTo>
                    <a:pt x="55342" y="80470"/>
                    <a:pt x="51769" y="83149"/>
                    <a:pt x="47431" y="84935"/>
                  </a:cubicBezTo>
                  <a:cubicBezTo>
                    <a:pt x="45518" y="85701"/>
                    <a:pt x="43604" y="86466"/>
                    <a:pt x="41690" y="87359"/>
                  </a:cubicBezTo>
                  <a:cubicBezTo>
                    <a:pt x="35949" y="89656"/>
                    <a:pt x="29952" y="92207"/>
                    <a:pt x="24466" y="95269"/>
                  </a:cubicBezTo>
                  <a:cubicBezTo>
                    <a:pt x="22808" y="96162"/>
                    <a:pt x="21022" y="96290"/>
                    <a:pt x="18470" y="95780"/>
                  </a:cubicBezTo>
                  <a:cubicBezTo>
                    <a:pt x="14515" y="95014"/>
                    <a:pt x="10432" y="94376"/>
                    <a:pt x="6605" y="93738"/>
                  </a:cubicBezTo>
                  <a:cubicBezTo>
                    <a:pt x="5074" y="93483"/>
                    <a:pt x="3415" y="93228"/>
                    <a:pt x="1884" y="92973"/>
                  </a:cubicBezTo>
                  <a:cubicBezTo>
                    <a:pt x="1884" y="92973"/>
                    <a:pt x="1884" y="92973"/>
                    <a:pt x="1884" y="92973"/>
                  </a:cubicBezTo>
                  <a:cubicBezTo>
                    <a:pt x="1118" y="92973"/>
                    <a:pt x="353" y="93356"/>
                    <a:pt x="98" y="93993"/>
                  </a:cubicBezTo>
                  <a:cubicBezTo>
                    <a:pt x="-157" y="94759"/>
                    <a:pt x="98" y="95525"/>
                    <a:pt x="736" y="95907"/>
                  </a:cubicBezTo>
                  <a:cubicBezTo>
                    <a:pt x="13749" y="103690"/>
                    <a:pt x="27018" y="104966"/>
                    <a:pt x="39011" y="99607"/>
                  </a:cubicBezTo>
                  <a:cubicBezTo>
                    <a:pt x="42456" y="98076"/>
                    <a:pt x="45900" y="96673"/>
                    <a:pt x="49345" y="95142"/>
                  </a:cubicBezTo>
                  <a:cubicBezTo>
                    <a:pt x="55724" y="92462"/>
                    <a:pt x="62231" y="89656"/>
                    <a:pt x="68610" y="86594"/>
                  </a:cubicBezTo>
                  <a:cubicBezTo>
                    <a:pt x="69631" y="86083"/>
                    <a:pt x="70652" y="85573"/>
                    <a:pt x="71672" y="85063"/>
                  </a:cubicBezTo>
                  <a:cubicBezTo>
                    <a:pt x="73586" y="84042"/>
                    <a:pt x="75627" y="83149"/>
                    <a:pt x="77541" y="82383"/>
                  </a:cubicBezTo>
                  <a:cubicBezTo>
                    <a:pt x="77541" y="82383"/>
                    <a:pt x="77541" y="82383"/>
                    <a:pt x="77541" y="82383"/>
                  </a:cubicBezTo>
                  <a:lnTo>
                    <a:pt x="77541" y="82894"/>
                  </a:lnTo>
                  <a:lnTo>
                    <a:pt x="78051" y="82894"/>
                  </a:lnTo>
                  <a:cubicBezTo>
                    <a:pt x="78051" y="82894"/>
                    <a:pt x="78562" y="82383"/>
                    <a:pt x="79200" y="81745"/>
                  </a:cubicBezTo>
                  <a:cubicBezTo>
                    <a:pt x="79200" y="82256"/>
                    <a:pt x="79710" y="82256"/>
                    <a:pt x="79710" y="81745"/>
                  </a:cubicBezTo>
                  <a:cubicBezTo>
                    <a:pt x="79965" y="81490"/>
                    <a:pt x="80093" y="81363"/>
                    <a:pt x="80220" y="81235"/>
                  </a:cubicBezTo>
                  <a:cubicBezTo>
                    <a:pt x="80220" y="81235"/>
                    <a:pt x="80348" y="81235"/>
                    <a:pt x="80476" y="81235"/>
                  </a:cubicBezTo>
                  <a:lnTo>
                    <a:pt x="82517" y="81235"/>
                  </a:lnTo>
                  <a:cubicBezTo>
                    <a:pt x="82517" y="83404"/>
                    <a:pt x="85962" y="83404"/>
                    <a:pt x="85962" y="83404"/>
                  </a:cubicBezTo>
                  <a:cubicBezTo>
                    <a:pt x="87110" y="80597"/>
                    <a:pt x="88258" y="80597"/>
                    <a:pt x="89406" y="81235"/>
                  </a:cubicBezTo>
                  <a:lnTo>
                    <a:pt x="89406" y="81745"/>
                  </a:lnTo>
                  <a:cubicBezTo>
                    <a:pt x="89406" y="81745"/>
                    <a:pt x="89917" y="83404"/>
                    <a:pt x="89406" y="82894"/>
                  </a:cubicBezTo>
                  <a:cubicBezTo>
                    <a:pt x="89406" y="86211"/>
                    <a:pt x="92213" y="85701"/>
                    <a:pt x="92213" y="85701"/>
                  </a:cubicBezTo>
                  <a:lnTo>
                    <a:pt x="92213" y="84552"/>
                  </a:lnTo>
                  <a:cubicBezTo>
                    <a:pt x="92724" y="83404"/>
                    <a:pt x="95658" y="84042"/>
                    <a:pt x="96168" y="84042"/>
                  </a:cubicBezTo>
                  <a:cubicBezTo>
                    <a:pt x="96679" y="84042"/>
                    <a:pt x="96679" y="84042"/>
                    <a:pt x="96679" y="83532"/>
                  </a:cubicBezTo>
                  <a:cubicBezTo>
                    <a:pt x="97699" y="84042"/>
                    <a:pt x="98720" y="84552"/>
                    <a:pt x="99741" y="85063"/>
                  </a:cubicBezTo>
                  <a:cubicBezTo>
                    <a:pt x="100634" y="85956"/>
                    <a:pt x="101144" y="86849"/>
                    <a:pt x="101144" y="86211"/>
                  </a:cubicBezTo>
                  <a:cubicBezTo>
                    <a:pt x="101399" y="87614"/>
                    <a:pt x="103696" y="87997"/>
                    <a:pt x="105865" y="88125"/>
                  </a:cubicBezTo>
                  <a:cubicBezTo>
                    <a:pt x="105865" y="88125"/>
                    <a:pt x="105865" y="88125"/>
                    <a:pt x="105865" y="88125"/>
                  </a:cubicBezTo>
                  <a:cubicBezTo>
                    <a:pt x="113137" y="91442"/>
                    <a:pt x="121047" y="93993"/>
                    <a:pt x="129723" y="90931"/>
                  </a:cubicBezTo>
                  <a:cubicBezTo>
                    <a:pt x="129978" y="90931"/>
                    <a:pt x="130361" y="90931"/>
                    <a:pt x="130616" y="90676"/>
                  </a:cubicBezTo>
                  <a:cubicBezTo>
                    <a:pt x="133295" y="89528"/>
                    <a:pt x="136357" y="89145"/>
                    <a:pt x="139419" y="89528"/>
                  </a:cubicBezTo>
                  <a:cubicBezTo>
                    <a:pt x="140057" y="91059"/>
                    <a:pt x="140567" y="92335"/>
                    <a:pt x="140185" y="93738"/>
                  </a:cubicBezTo>
                  <a:cubicBezTo>
                    <a:pt x="139674" y="95525"/>
                    <a:pt x="139674" y="97055"/>
                    <a:pt x="139930" y="98459"/>
                  </a:cubicBezTo>
                  <a:cubicBezTo>
                    <a:pt x="140057" y="99607"/>
                    <a:pt x="140440" y="100755"/>
                    <a:pt x="140950" y="101776"/>
                  </a:cubicBezTo>
                  <a:cubicBezTo>
                    <a:pt x="142609" y="104455"/>
                    <a:pt x="145671" y="106369"/>
                    <a:pt x="150264" y="107390"/>
                  </a:cubicBezTo>
                  <a:cubicBezTo>
                    <a:pt x="151795" y="107772"/>
                    <a:pt x="153326" y="108028"/>
                    <a:pt x="154857" y="108283"/>
                  </a:cubicBezTo>
                  <a:cubicBezTo>
                    <a:pt x="158174" y="108793"/>
                    <a:pt x="161236" y="109431"/>
                    <a:pt x="164043" y="110835"/>
                  </a:cubicBezTo>
                  <a:cubicBezTo>
                    <a:pt x="164426" y="111090"/>
                    <a:pt x="164808" y="111217"/>
                    <a:pt x="165319" y="111345"/>
                  </a:cubicBezTo>
                  <a:cubicBezTo>
                    <a:pt x="167360" y="112238"/>
                    <a:pt x="167615" y="112365"/>
                    <a:pt x="166977" y="113897"/>
                  </a:cubicBezTo>
                  <a:cubicBezTo>
                    <a:pt x="166722" y="114534"/>
                    <a:pt x="166977" y="115172"/>
                    <a:pt x="167360" y="115555"/>
                  </a:cubicBezTo>
                  <a:lnTo>
                    <a:pt x="172463" y="120403"/>
                  </a:lnTo>
                  <a:cubicBezTo>
                    <a:pt x="172463" y="120403"/>
                    <a:pt x="173484" y="120914"/>
                    <a:pt x="173994" y="120786"/>
                  </a:cubicBezTo>
                  <a:cubicBezTo>
                    <a:pt x="174377" y="120786"/>
                    <a:pt x="174632" y="120403"/>
                    <a:pt x="174888" y="120148"/>
                  </a:cubicBezTo>
                  <a:cubicBezTo>
                    <a:pt x="176163" y="121169"/>
                    <a:pt x="177312" y="122189"/>
                    <a:pt x="178460" y="123210"/>
                  </a:cubicBezTo>
                  <a:cubicBezTo>
                    <a:pt x="181012" y="125379"/>
                    <a:pt x="183563" y="127548"/>
                    <a:pt x="186243" y="129334"/>
                  </a:cubicBezTo>
                  <a:cubicBezTo>
                    <a:pt x="192367" y="133417"/>
                    <a:pt x="199256" y="135841"/>
                    <a:pt x="206784" y="136607"/>
                  </a:cubicBezTo>
                  <a:cubicBezTo>
                    <a:pt x="206784" y="136607"/>
                    <a:pt x="206911" y="136607"/>
                    <a:pt x="207039" y="136607"/>
                  </a:cubicBezTo>
                  <a:cubicBezTo>
                    <a:pt x="207039" y="136734"/>
                    <a:pt x="207039" y="136989"/>
                    <a:pt x="207039" y="137117"/>
                  </a:cubicBezTo>
                  <a:cubicBezTo>
                    <a:pt x="207421" y="138393"/>
                    <a:pt x="208570" y="139030"/>
                    <a:pt x="209335" y="139413"/>
                  </a:cubicBezTo>
                  <a:cubicBezTo>
                    <a:pt x="209590" y="139413"/>
                    <a:pt x="209718" y="139668"/>
                    <a:pt x="209973" y="139796"/>
                  </a:cubicBezTo>
                  <a:cubicBezTo>
                    <a:pt x="214439" y="142730"/>
                    <a:pt x="219159" y="145665"/>
                    <a:pt x="223880" y="148472"/>
                  </a:cubicBezTo>
                  <a:cubicBezTo>
                    <a:pt x="224773" y="148982"/>
                    <a:pt x="225411" y="149492"/>
                    <a:pt x="226049" y="150130"/>
                  </a:cubicBezTo>
                  <a:cubicBezTo>
                    <a:pt x="225921" y="150386"/>
                    <a:pt x="225793" y="150641"/>
                    <a:pt x="225538" y="151023"/>
                  </a:cubicBezTo>
                  <a:cubicBezTo>
                    <a:pt x="224390" y="152172"/>
                    <a:pt x="227197" y="154341"/>
                    <a:pt x="227197" y="154341"/>
                  </a:cubicBezTo>
                  <a:cubicBezTo>
                    <a:pt x="221583" y="157658"/>
                    <a:pt x="226049" y="159954"/>
                    <a:pt x="227197" y="159954"/>
                  </a:cubicBezTo>
                  <a:cubicBezTo>
                    <a:pt x="226431" y="165185"/>
                    <a:pt x="227835" y="166844"/>
                    <a:pt x="228855" y="167354"/>
                  </a:cubicBezTo>
                  <a:cubicBezTo>
                    <a:pt x="230259" y="170033"/>
                    <a:pt x="232555" y="172075"/>
                    <a:pt x="234852" y="173733"/>
                  </a:cubicBezTo>
                  <a:cubicBezTo>
                    <a:pt x="236893" y="175137"/>
                    <a:pt x="238935" y="176923"/>
                    <a:pt x="240848" y="178454"/>
                  </a:cubicBezTo>
                  <a:cubicBezTo>
                    <a:pt x="243400" y="180495"/>
                    <a:pt x="245952" y="182664"/>
                    <a:pt x="248759" y="184450"/>
                  </a:cubicBezTo>
                  <a:cubicBezTo>
                    <a:pt x="249524" y="184961"/>
                    <a:pt x="250290" y="185599"/>
                    <a:pt x="250927" y="186237"/>
                  </a:cubicBezTo>
                  <a:cubicBezTo>
                    <a:pt x="250927" y="186874"/>
                    <a:pt x="250417" y="189936"/>
                    <a:pt x="250417" y="190447"/>
                  </a:cubicBezTo>
                  <a:lnTo>
                    <a:pt x="251565" y="190447"/>
                  </a:lnTo>
                  <a:cubicBezTo>
                    <a:pt x="253479" y="189936"/>
                    <a:pt x="254627" y="190702"/>
                    <a:pt x="255265" y="191595"/>
                  </a:cubicBezTo>
                  <a:cubicBezTo>
                    <a:pt x="255265" y="191723"/>
                    <a:pt x="255393" y="191850"/>
                    <a:pt x="255520" y="192105"/>
                  </a:cubicBezTo>
                  <a:cubicBezTo>
                    <a:pt x="255903" y="192998"/>
                    <a:pt x="256158" y="193764"/>
                    <a:pt x="256158" y="193764"/>
                  </a:cubicBezTo>
                  <a:cubicBezTo>
                    <a:pt x="256158" y="193764"/>
                    <a:pt x="256414" y="193891"/>
                    <a:pt x="256541" y="194019"/>
                  </a:cubicBezTo>
                  <a:cubicBezTo>
                    <a:pt x="257179" y="195678"/>
                    <a:pt x="257689" y="197464"/>
                    <a:pt x="257945" y="199505"/>
                  </a:cubicBezTo>
                  <a:cubicBezTo>
                    <a:pt x="258710" y="204864"/>
                    <a:pt x="262665" y="206140"/>
                    <a:pt x="265855" y="207160"/>
                  </a:cubicBezTo>
                  <a:cubicBezTo>
                    <a:pt x="266875" y="207543"/>
                    <a:pt x="267896" y="207798"/>
                    <a:pt x="268789" y="208181"/>
                  </a:cubicBezTo>
                  <a:cubicBezTo>
                    <a:pt x="269044" y="208181"/>
                    <a:pt x="269300" y="208309"/>
                    <a:pt x="269555" y="208309"/>
                  </a:cubicBezTo>
                  <a:lnTo>
                    <a:pt x="283206" y="208309"/>
                  </a:lnTo>
                  <a:cubicBezTo>
                    <a:pt x="283206" y="208309"/>
                    <a:pt x="283461" y="208309"/>
                    <a:pt x="283717" y="208309"/>
                  </a:cubicBezTo>
                  <a:lnTo>
                    <a:pt x="284099" y="208309"/>
                  </a:lnTo>
                  <a:cubicBezTo>
                    <a:pt x="285758" y="207671"/>
                    <a:pt x="287416" y="207160"/>
                    <a:pt x="289075" y="206395"/>
                  </a:cubicBezTo>
                  <a:cubicBezTo>
                    <a:pt x="290989" y="206395"/>
                    <a:pt x="292265" y="206267"/>
                    <a:pt x="292265" y="205884"/>
                  </a:cubicBezTo>
                  <a:cubicBezTo>
                    <a:pt x="293413" y="204226"/>
                    <a:pt x="298516" y="204226"/>
                    <a:pt x="298516" y="203078"/>
                  </a:cubicBezTo>
                  <a:cubicBezTo>
                    <a:pt x="298516" y="196954"/>
                    <a:pt x="302982" y="199250"/>
                    <a:pt x="302982" y="198102"/>
                  </a:cubicBezTo>
                  <a:cubicBezTo>
                    <a:pt x="303492" y="196571"/>
                    <a:pt x="304002" y="195805"/>
                    <a:pt x="304385" y="195295"/>
                  </a:cubicBezTo>
                  <a:cubicBezTo>
                    <a:pt x="304768" y="195167"/>
                    <a:pt x="305278" y="195040"/>
                    <a:pt x="305661" y="194912"/>
                  </a:cubicBezTo>
                  <a:cubicBezTo>
                    <a:pt x="306299" y="196060"/>
                    <a:pt x="306299" y="199250"/>
                    <a:pt x="306299" y="199250"/>
                  </a:cubicBezTo>
                  <a:cubicBezTo>
                    <a:pt x="313061" y="198102"/>
                    <a:pt x="305151" y="200909"/>
                    <a:pt x="309744" y="200909"/>
                  </a:cubicBezTo>
                  <a:cubicBezTo>
                    <a:pt x="312040" y="200398"/>
                    <a:pt x="312040" y="202057"/>
                    <a:pt x="312550" y="202057"/>
                  </a:cubicBezTo>
                  <a:cubicBezTo>
                    <a:pt x="321609" y="199888"/>
                    <a:pt x="333985" y="195423"/>
                    <a:pt x="344702" y="192616"/>
                  </a:cubicBezTo>
                  <a:cubicBezTo>
                    <a:pt x="344702" y="192616"/>
                    <a:pt x="345212" y="192616"/>
                    <a:pt x="345850" y="192105"/>
                  </a:cubicBezTo>
                  <a:cubicBezTo>
                    <a:pt x="345850" y="192105"/>
                    <a:pt x="345850" y="192105"/>
                    <a:pt x="345850" y="192105"/>
                  </a:cubicBezTo>
                  <a:cubicBezTo>
                    <a:pt x="352229" y="193891"/>
                    <a:pt x="358225" y="192233"/>
                    <a:pt x="364094" y="190574"/>
                  </a:cubicBezTo>
                  <a:lnTo>
                    <a:pt x="366008" y="190064"/>
                  </a:lnTo>
                  <a:cubicBezTo>
                    <a:pt x="368177" y="189426"/>
                    <a:pt x="371111" y="188278"/>
                    <a:pt x="372004" y="185726"/>
                  </a:cubicBezTo>
                  <a:cubicBezTo>
                    <a:pt x="372770" y="183685"/>
                    <a:pt x="372132" y="181261"/>
                    <a:pt x="369963" y="177944"/>
                  </a:cubicBezTo>
                  <a:close/>
                </a:path>
              </a:pathLst>
            </a:custGeom>
            <a:solidFill>
              <a:srgbClr val="D0EAF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114DC732-8F77-0430-48E8-C25E64AA1ECA}"/>
                </a:ext>
              </a:extLst>
            </p:cNvPr>
            <p:cNvSpPr/>
            <p:nvPr/>
          </p:nvSpPr>
          <p:spPr>
            <a:xfrm>
              <a:off x="4879775" y="3113659"/>
              <a:ext cx="2142942" cy="2160240"/>
            </a:xfrm>
            <a:custGeom>
              <a:avLst/>
              <a:gdLst>
                <a:gd name="connsiteX0" fmla="*/ 2060783 w 2066379"/>
                <a:gd name="connsiteY0" fmla="*/ 1184488 h 2083059"/>
                <a:gd name="connsiteX1" fmla="*/ 2059635 w 2066379"/>
                <a:gd name="connsiteY1" fmla="*/ 1148892 h 2083059"/>
                <a:gd name="connsiteX2" fmla="*/ 2060145 w 2066379"/>
                <a:gd name="connsiteY2" fmla="*/ 1129371 h 2083059"/>
                <a:gd name="connsiteX3" fmla="*/ 2060145 w 2066379"/>
                <a:gd name="connsiteY3" fmla="*/ 1129371 h 2083059"/>
                <a:gd name="connsiteX4" fmla="*/ 2044963 w 2066379"/>
                <a:gd name="connsiteY4" fmla="*/ 1114954 h 2083059"/>
                <a:gd name="connsiteX5" fmla="*/ 1974409 w 2066379"/>
                <a:gd name="connsiteY5" fmla="*/ 1031004 h 2083059"/>
                <a:gd name="connsiteX6" fmla="*/ 1897093 w 2066379"/>
                <a:gd name="connsiteY6" fmla="*/ 998726 h 2083059"/>
                <a:gd name="connsiteX7" fmla="*/ 1863283 w 2066379"/>
                <a:gd name="connsiteY7" fmla="*/ 974230 h 2083059"/>
                <a:gd name="connsiteX8" fmla="*/ 1822074 w 2066379"/>
                <a:gd name="connsiteY8" fmla="*/ 903038 h 2083059"/>
                <a:gd name="connsiteX9" fmla="*/ 1755475 w 2066379"/>
                <a:gd name="connsiteY9" fmla="*/ 864125 h 2083059"/>
                <a:gd name="connsiteX10" fmla="*/ 1701890 w 2066379"/>
                <a:gd name="connsiteY10" fmla="*/ 809009 h 2083059"/>
                <a:gd name="connsiteX11" fmla="*/ 1699083 w 2066379"/>
                <a:gd name="connsiteY11" fmla="*/ 791785 h 2083059"/>
                <a:gd name="connsiteX12" fmla="*/ 1643201 w 2066379"/>
                <a:gd name="connsiteY12" fmla="*/ 761165 h 2083059"/>
                <a:gd name="connsiteX13" fmla="*/ 1626871 w 2066379"/>
                <a:gd name="connsiteY13" fmla="*/ 766778 h 2083059"/>
                <a:gd name="connsiteX14" fmla="*/ 1590254 w 2066379"/>
                <a:gd name="connsiteY14" fmla="*/ 758485 h 2083059"/>
                <a:gd name="connsiteX15" fmla="*/ 1533862 w 2066379"/>
                <a:gd name="connsiteY15" fmla="*/ 698904 h 2083059"/>
                <a:gd name="connsiteX16" fmla="*/ 1504518 w 2066379"/>
                <a:gd name="connsiteY16" fmla="*/ 639322 h 2083059"/>
                <a:gd name="connsiteX17" fmla="*/ 1473515 w 2066379"/>
                <a:gd name="connsiteY17" fmla="*/ 552565 h 2083059"/>
                <a:gd name="connsiteX18" fmla="*/ 1418782 w 2066379"/>
                <a:gd name="connsiteY18" fmla="*/ 500256 h 2083059"/>
                <a:gd name="connsiteX19" fmla="*/ 1443533 w 2066379"/>
                <a:gd name="connsiteY19" fmla="*/ 481373 h 2083059"/>
                <a:gd name="connsiteX20" fmla="*/ 1442384 w 2066379"/>
                <a:gd name="connsiteY20" fmla="*/ 465808 h 2083059"/>
                <a:gd name="connsiteX21" fmla="*/ 1442384 w 2066379"/>
                <a:gd name="connsiteY21" fmla="*/ 462491 h 2083059"/>
                <a:gd name="connsiteX22" fmla="*/ 1466115 w 2066379"/>
                <a:gd name="connsiteY22" fmla="*/ 452412 h 2083059"/>
                <a:gd name="connsiteX23" fmla="*/ 1477980 w 2066379"/>
                <a:gd name="connsiteY23" fmla="*/ 398444 h 2083059"/>
                <a:gd name="connsiteX24" fmla="*/ 1447488 w 2066379"/>
                <a:gd name="connsiteY24" fmla="*/ 384027 h 2083059"/>
                <a:gd name="connsiteX25" fmla="*/ 1445191 w 2066379"/>
                <a:gd name="connsiteY25" fmla="*/ 382368 h 2083059"/>
                <a:gd name="connsiteX26" fmla="*/ 1455398 w 2066379"/>
                <a:gd name="connsiteY26" fmla="*/ 366803 h 2083059"/>
                <a:gd name="connsiteX27" fmla="*/ 1361241 w 2066379"/>
                <a:gd name="connsiteY27" fmla="*/ 317301 h 2083059"/>
                <a:gd name="connsiteX28" fmla="*/ 1349376 w 2066379"/>
                <a:gd name="connsiteY28" fmla="*/ 293953 h 2083059"/>
                <a:gd name="connsiteX29" fmla="*/ 1326794 w 2066379"/>
                <a:gd name="connsiteY29" fmla="*/ 279536 h 2083059"/>
                <a:gd name="connsiteX30" fmla="*/ 1290177 w 2066379"/>
                <a:gd name="connsiteY30" fmla="*/ 197244 h 2083059"/>
                <a:gd name="connsiteX31" fmla="*/ 1294642 w 2066379"/>
                <a:gd name="connsiteY31" fmla="*/ 182828 h 2083059"/>
                <a:gd name="connsiteX32" fmla="*/ 1290177 w 2066379"/>
                <a:gd name="connsiteY32" fmla="*/ 160628 h 2083059"/>
                <a:gd name="connsiteX33" fmla="*/ 1241057 w 2066379"/>
                <a:gd name="connsiteY33" fmla="*/ 133963 h 2083059"/>
                <a:gd name="connsiteX34" fmla="*/ 1212351 w 2066379"/>
                <a:gd name="connsiteY34" fmla="*/ 86119 h 2083059"/>
                <a:gd name="connsiteX35" fmla="*/ 1175097 w 2066379"/>
                <a:gd name="connsiteY35" fmla="*/ 108319 h 2083059"/>
                <a:gd name="connsiteX36" fmla="*/ 1079791 w 2066379"/>
                <a:gd name="connsiteY36" fmla="*/ 105001 h 2083059"/>
                <a:gd name="connsiteX37" fmla="*/ 1045344 w 2066379"/>
                <a:gd name="connsiteY37" fmla="*/ 111636 h 2083059"/>
                <a:gd name="connsiteX38" fmla="*/ 1029013 w 2066379"/>
                <a:gd name="connsiteY38" fmla="*/ 110488 h 2083059"/>
                <a:gd name="connsiteX39" fmla="*/ 1029013 w 2066379"/>
                <a:gd name="connsiteY39" fmla="*/ 90457 h 2083059"/>
                <a:gd name="connsiteX40" fmla="*/ 1013193 w 2066379"/>
                <a:gd name="connsiteY40" fmla="*/ 91605 h 2083059"/>
                <a:gd name="connsiteX41" fmla="*/ 1007579 w 2066379"/>
                <a:gd name="connsiteY41" fmla="*/ 51034 h 2083059"/>
                <a:gd name="connsiteX42" fmla="*/ 1013193 w 2066379"/>
                <a:gd name="connsiteY42" fmla="*/ 37127 h 2083059"/>
                <a:gd name="connsiteX43" fmla="*/ 979893 w 2066379"/>
                <a:gd name="connsiteY43" fmla="*/ 32661 h 2083059"/>
                <a:gd name="connsiteX44" fmla="*/ 931412 w 2066379"/>
                <a:gd name="connsiteY44" fmla="*/ 60985 h 2083059"/>
                <a:gd name="connsiteX45" fmla="*/ 946594 w 2066379"/>
                <a:gd name="connsiteY45" fmla="*/ 117760 h 2083059"/>
                <a:gd name="connsiteX46" fmla="*/ 938173 w 2066379"/>
                <a:gd name="connsiteY46" fmla="*/ 186783 h 2083059"/>
                <a:gd name="connsiteX47" fmla="*/ 891350 w 2066379"/>
                <a:gd name="connsiteY47" fmla="*/ 178490 h 2083059"/>
                <a:gd name="connsiteX48" fmla="*/ 894795 w 2066379"/>
                <a:gd name="connsiteY48" fmla="*/ 143404 h 2083059"/>
                <a:gd name="connsiteX49" fmla="*/ 878464 w 2066379"/>
                <a:gd name="connsiteY49" fmla="*/ 127839 h 2083059"/>
                <a:gd name="connsiteX50" fmla="*/ 855882 w 2066379"/>
                <a:gd name="connsiteY50" fmla="*/ 141235 h 2083059"/>
                <a:gd name="connsiteX51" fmla="*/ 826027 w 2066379"/>
                <a:gd name="connsiteY51" fmla="*/ 128987 h 2083059"/>
                <a:gd name="connsiteX52" fmla="*/ 717709 w 2066379"/>
                <a:gd name="connsiteY52" fmla="*/ 136770 h 2083059"/>
                <a:gd name="connsiteX53" fmla="*/ 727915 w 2066379"/>
                <a:gd name="connsiteY53" fmla="*/ 149528 h 2083059"/>
                <a:gd name="connsiteX54" fmla="*/ 715540 w 2066379"/>
                <a:gd name="connsiteY54" fmla="*/ 160628 h 2083059"/>
                <a:gd name="connsiteX55" fmla="*/ 727915 w 2066379"/>
                <a:gd name="connsiteY55" fmla="*/ 168411 h 2083059"/>
                <a:gd name="connsiteX56" fmla="*/ 756622 w 2066379"/>
                <a:gd name="connsiteY56" fmla="*/ 183465 h 2083059"/>
                <a:gd name="connsiteX57" fmla="*/ 757770 w 2066379"/>
                <a:gd name="connsiteY57" fmla="*/ 201327 h 2083059"/>
                <a:gd name="connsiteX58" fmla="*/ 721154 w 2066379"/>
                <a:gd name="connsiteY58" fmla="*/ 203496 h 2083059"/>
                <a:gd name="connsiteX59" fmla="*/ 716688 w 2066379"/>
                <a:gd name="connsiteY59" fmla="*/ 234116 h 2083059"/>
                <a:gd name="connsiteX60" fmla="*/ 698061 w 2066379"/>
                <a:gd name="connsiteY60" fmla="*/ 212427 h 2083059"/>
                <a:gd name="connsiteX61" fmla="*/ 669354 w 2066379"/>
                <a:gd name="connsiteY61" fmla="*/ 202475 h 2083059"/>
                <a:gd name="connsiteX62" fmla="*/ 667058 w 2066379"/>
                <a:gd name="connsiteY62" fmla="*/ 145701 h 2083059"/>
                <a:gd name="connsiteX63" fmla="*/ 646772 w 2066379"/>
                <a:gd name="connsiteY63" fmla="*/ 123501 h 2083059"/>
                <a:gd name="connsiteX64" fmla="*/ 633759 w 2066379"/>
                <a:gd name="connsiteY64" fmla="*/ 134601 h 2083059"/>
                <a:gd name="connsiteX65" fmla="*/ 610666 w 2066379"/>
                <a:gd name="connsiteY65" fmla="*/ 117887 h 2083059"/>
                <a:gd name="connsiteX66" fmla="*/ 607221 w 2066379"/>
                <a:gd name="connsiteY66" fmla="*/ 101812 h 2083059"/>
                <a:gd name="connsiteX67" fmla="*/ 601607 w 2066379"/>
                <a:gd name="connsiteY67" fmla="*/ 107426 h 2083059"/>
                <a:gd name="connsiteX68" fmla="*/ 579663 w 2066379"/>
                <a:gd name="connsiteY68" fmla="*/ 101812 h 2083059"/>
                <a:gd name="connsiteX69" fmla="*/ 589232 w 2066379"/>
                <a:gd name="connsiteY69" fmla="*/ 86247 h 2083059"/>
                <a:gd name="connsiteX70" fmla="*/ 574049 w 2066379"/>
                <a:gd name="connsiteY70" fmla="*/ 82929 h 2083059"/>
                <a:gd name="connsiteX71" fmla="*/ 560526 w 2066379"/>
                <a:gd name="connsiteY71" fmla="*/ 51161 h 2083059"/>
                <a:gd name="connsiteX72" fmla="*/ 544195 w 2066379"/>
                <a:gd name="connsiteY72" fmla="*/ 44527 h 2083059"/>
                <a:gd name="connsiteX73" fmla="*/ 481041 w 2066379"/>
                <a:gd name="connsiteY73" fmla="*/ 12758 h 2083059"/>
                <a:gd name="connsiteX74" fmla="*/ 470834 w 2066379"/>
                <a:gd name="connsiteY74" fmla="*/ 0 h 2083059"/>
                <a:gd name="connsiteX75" fmla="*/ 446593 w 2066379"/>
                <a:gd name="connsiteY75" fmla="*/ 20541 h 2083059"/>
                <a:gd name="connsiteX76" fmla="*/ 436387 w 2066379"/>
                <a:gd name="connsiteY76" fmla="*/ 61113 h 2083059"/>
                <a:gd name="connsiteX77" fmla="*/ 387905 w 2066379"/>
                <a:gd name="connsiteY77" fmla="*/ 101684 h 2083059"/>
                <a:gd name="connsiteX78" fmla="*/ 324751 w 2066379"/>
                <a:gd name="connsiteY78" fmla="*/ 122225 h 2083059"/>
                <a:gd name="connsiteX79" fmla="*/ 313523 w 2066379"/>
                <a:gd name="connsiteY79" fmla="*/ 171728 h 2083059"/>
                <a:gd name="connsiteX80" fmla="*/ 284817 w 2066379"/>
                <a:gd name="connsiteY80" fmla="*/ 210130 h 2083059"/>
                <a:gd name="connsiteX81" fmla="*/ 259428 w 2066379"/>
                <a:gd name="connsiteY81" fmla="*/ 220720 h 2083059"/>
                <a:gd name="connsiteX82" fmla="*/ 236335 w 2066379"/>
                <a:gd name="connsiteY82" fmla="*/ 210130 h 2083059"/>
                <a:gd name="connsiteX83" fmla="*/ 225108 w 2066379"/>
                <a:gd name="connsiteY83" fmla="*/ 200179 h 2083059"/>
                <a:gd name="connsiteX84" fmla="*/ 213242 w 2066379"/>
                <a:gd name="connsiteY84" fmla="*/ 211279 h 2083059"/>
                <a:gd name="connsiteX85" fmla="*/ 220004 w 2066379"/>
                <a:gd name="connsiteY85" fmla="*/ 228502 h 2083059"/>
                <a:gd name="connsiteX86" fmla="*/ 217708 w 2066379"/>
                <a:gd name="connsiteY86" fmla="*/ 242919 h 2083059"/>
                <a:gd name="connsiteX87" fmla="*/ 231870 w 2066379"/>
                <a:gd name="connsiteY87" fmla="*/ 252361 h 2083059"/>
                <a:gd name="connsiteX88" fmla="*/ 230721 w 2066379"/>
                <a:gd name="connsiteY88" fmla="*/ 291912 h 2083059"/>
                <a:gd name="connsiteX89" fmla="*/ 182240 w 2066379"/>
                <a:gd name="connsiteY89" fmla="*/ 300842 h 2083059"/>
                <a:gd name="connsiteX90" fmla="*/ 171012 w 2066379"/>
                <a:gd name="connsiteY90" fmla="*/ 273540 h 2083059"/>
                <a:gd name="connsiteX91" fmla="*/ 153533 w 2066379"/>
                <a:gd name="connsiteY91" fmla="*/ 260143 h 2083059"/>
                <a:gd name="connsiteX92" fmla="*/ 141158 w 2066379"/>
                <a:gd name="connsiteY92" fmla="*/ 273540 h 2083059"/>
                <a:gd name="connsiteX93" fmla="*/ 100586 w 2066379"/>
                <a:gd name="connsiteY93" fmla="*/ 256826 h 2083059"/>
                <a:gd name="connsiteX94" fmla="*/ 74687 w 2066379"/>
                <a:gd name="connsiteY94" fmla="*/ 296377 h 2083059"/>
                <a:gd name="connsiteX95" fmla="*/ 58356 w 2066379"/>
                <a:gd name="connsiteY95" fmla="*/ 263588 h 2083059"/>
                <a:gd name="connsiteX96" fmla="*/ 48149 w 2066379"/>
                <a:gd name="connsiteY96" fmla="*/ 275836 h 2083059"/>
                <a:gd name="connsiteX97" fmla="*/ 23908 w 2066379"/>
                <a:gd name="connsiteY97" fmla="*/ 279153 h 2083059"/>
                <a:gd name="connsiteX98" fmla="*/ 20463 w 2066379"/>
                <a:gd name="connsiteY98" fmla="*/ 329166 h 2083059"/>
                <a:gd name="connsiteX99" fmla="*/ 18167 w 2066379"/>
                <a:gd name="connsiteY99" fmla="*/ 405971 h 2083059"/>
                <a:gd name="connsiteX100" fmla="*/ 27225 w 2066379"/>
                <a:gd name="connsiteY100" fmla="*/ 458281 h 2083059"/>
                <a:gd name="connsiteX101" fmla="*/ 48149 w 2066379"/>
                <a:gd name="connsiteY101" fmla="*/ 448840 h 2083059"/>
                <a:gd name="connsiteX102" fmla="*/ 39729 w 2066379"/>
                <a:gd name="connsiteY102" fmla="*/ 481629 h 2083059"/>
                <a:gd name="connsiteX103" fmla="*/ 51594 w 2066379"/>
                <a:gd name="connsiteY103" fmla="*/ 501149 h 2083059"/>
                <a:gd name="connsiteX104" fmla="*/ 45980 w 2066379"/>
                <a:gd name="connsiteY104" fmla="*/ 540700 h 2083059"/>
                <a:gd name="connsiteX105" fmla="*/ 42025 w 2066379"/>
                <a:gd name="connsiteY105" fmla="*/ 576806 h 2083059"/>
                <a:gd name="connsiteX106" fmla="*/ 30798 w 2066379"/>
                <a:gd name="connsiteY106" fmla="*/ 594030 h 2083059"/>
                <a:gd name="connsiteX107" fmla="*/ 44959 w 2066379"/>
                <a:gd name="connsiteY107" fmla="*/ 625160 h 2083059"/>
                <a:gd name="connsiteX108" fmla="*/ 72007 w 2066379"/>
                <a:gd name="connsiteY108" fmla="*/ 620695 h 2083059"/>
                <a:gd name="connsiteX109" fmla="*/ 86169 w 2066379"/>
                <a:gd name="connsiteY109" fmla="*/ 628988 h 2083059"/>
                <a:gd name="connsiteX110" fmla="*/ 101989 w 2066379"/>
                <a:gd name="connsiteY110" fmla="*/ 628988 h 2083059"/>
                <a:gd name="connsiteX111" fmla="*/ 105945 w 2066379"/>
                <a:gd name="connsiteY111" fmla="*/ 613933 h 2083059"/>
                <a:gd name="connsiteX112" fmla="*/ 119468 w 2066379"/>
                <a:gd name="connsiteY112" fmla="*/ 606150 h 2083059"/>
                <a:gd name="connsiteX113" fmla="*/ 120617 w 2066379"/>
                <a:gd name="connsiteY113" fmla="*/ 579996 h 2083059"/>
                <a:gd name="connsiteX114" fmla="*/ 153916 w 2066379"/>
                <a:gd name="connsiteY114" fmla="*/ 574382 h 2083059"/>
                <a:gd name="connsiteX115" fmla="*/ 159530 w 2066379"/>
                <a:gd name="connsiteY115" fmla="*/ 586630 h 2083059"/>
                <a:gd name="connsiteX116" fmla="*/ 178157 w 2066379"/>
                <a:gd name="connsiteY116" fmla="*/ 577699 h 2083059"/>
                <a:gd name="connsiteX117" fmla="*/ 184919 w 2066379"/>
                <a:gd name="connsiteY117" fmla="*/ 544910 h 2083059"/>
                <a:gd name="connsiteX118" fmla="*/ 172543 w 2066379"/>
                <a:gd name="connsiteY118" fmla="*/ 526028 h 2083059"/>
                <a:gd name="connsiteX119" fmla="*/ 143837 w 2066379"/>
                <a:gd name="connsiteY119" fmla="*/ 543890 h 2083059"/>
                <a:gd name="connsiteX120" fmla="*/ 155064 w 2066379"/>
                <a:gd name="connsiteY120" fmla="*/ 533810 h 2083059"/>
                <a:gd name="connsiteX121" fmla="*/ 137075 w 2066379"/>
                <a:gd name="connsiteY121" fmla="*/ 527176 h 2083059"/>
                <a:gd name="connsiteX122" fmla="*/ 138223 w 2066379"/>
                <a:gd name="connsiteY122" fmla="*/ 506635 h 2083059"/>
                <a:gd name="connsiteX123" fmla="*/ 180581 w 2066379"/>
                <a:gd name="connsiteY123" fmla="*/ 494387 h 2083059"/>
                <a:gd name="connsiteX124" fmla="*/ 198060 w 2066379"/>
                <a:gd name="connsiteY124" fmla="*/ 504466 h 2083059"/>
                <a:gd name="connsiteX125" fmla="*/ 209287 w 2066379"/>
                <a:gd name="connsiteY125" fmla="*/ 493366 h 2083059"/>
                <a:gd name="connsiteX126" fmla="*/ 237994 w 2066379"/>
                <a:gd name="connsiteY126" fmla="*/ 513397 h 2083059"/>
                <a:gd name="connsiteX127" fmla="*/ 243607 w 2066379"/>
                <a:gd name="connsiteY127" fmla="*/ 528452 h 2083059"/>
                <a:gd name="connsiteX128" fmla="*/ 244756 w 2066379"/>
                <a:gd name="connsiteY128" fmla="*/ 498980 h 2083059"/>
                <a:gd name="connsiteX129" fmla="*/ 273462 w 2066379"/>
                <a:gd name="connsiteY129" fmla="*/ 489539 h 2083059"/>
                <a:gd name="connsiteX130" fmla="*/ 264404 w 2066379"/>
                <a:gd name="connsiteY130" fmla="*/ 522328 h 2083059"/>
                <a:gd name="connsiteX131" fmla="*/ 271166 w 2066379"/>
                <a:gd name="connsiteY131" fmla="*/ 555117 h 2083059"/>
                <a:gd name="connsiteX132" fmla="*/ 287496 w 2066379"/>
                <a:gd name="connsiteY132" fmla="*/ 555117 h 2083059"/>
                <a:gd name="connsiteX133" fmla="*/ 288645 w 2066379"/>
                <a:gd name="connsiteY133" fmla="*/ 535086 h 2083059"/>
                <a:gd name="connsiteX134" fmla="*/ 298851 w 2066379"/>
                <a:gd name="connsiteY134" fmla="*/ 531769 h 2083059"/>
                <a:gd name="connsiteX135" fmla="*/ 316330 w 2066379"/>
                <a:gd name="connsiteY135" fmla="*/ 558434 h 2083059"/>
                <a:gd name="connsiteX136" fmla="*/ 329854 w 2066379"/>
                <a:gd name="connsiteY136" fmla="*/ 535086 h 2083059"/>
                <a:gd name="connsiteX137" fmla="*/ 337764 w 2066379"/>
                <a:gd name="connsiteY137" fmla="*/ 545038 h 2083059"/>
                <a:gd name="connsiteX138" fmla="*/ 352947 w 2066379"/>
                <a:gd name="connsiteY138" fmla="*/ 550651 h 2083059"/>
                <a:gd name="connsiteX139" fmla="*/ 351798 w 2066379"/>
                <a:gd name="connsiteY139" fmla="*/ 577954 h 2083059"/>
                <a:gd name="connsiteX140" fmla="*/ 368767 w 2066379"/>
                <a:gd name="connsiteY140" fmla="*/ 604109 h 2083059"/>
                <a:gd name="connsiteX141" fmla="*/ 340061 w 2066379"/>
                <a:gd name="connsiteY141" fmla="*/ 636898 h 2083059"/>
                <a:gd name="connsiteX142" fmla="*/ 355243 w 2066379"/>
                <a:gd name="connsiteY142" fmla="*/ 643532 h 2083059"/>
                <a:gd name="connsiteX143" fmla="*/ 376167 w 2066379"/>
                <a:gd name="connsiteY143" fmla="*/ 619547 h 2083059"/>
                <a:gd name="connsiteX144" fmla="*/ 385225 w 2066379"/>
                <a:gd name="connsiteY144" fmla="*/ 686273 h 2083059"/>
                <a:gd name="connsiteX145" fmla="*/ 429752 w 2066379"/>
                <a:gd name="connsiteY145" fmla="*/ 686273 h 2083059"/>
                <a:gd name="connsiteX146" fmla="*/ 447231 w 2066379"/>
                <a:gd name="connsiteY146" fmla="*/ 646722 h 2083059"/>
                <a:gd name="connsiteX147" fmla="*/ 465858 w 2066379"/>
                <a:gd name="connsiteY147" fmla="*/ 669559 h 2083059"/>
                <a:gd name="connsiteX148" fmla="*/ 469303 w 2066379"/>
                <a:gd name="connsiteY148" fmla="*/ 697883 h 2083059"/>
                <a:gd name="connsiteX149" fmla="*/ 456290 w 2066379"/>
                <a:gd name="connsiteY149" fmla="*/ 717914 h 2083059"/>
                <a:gd name="connsiteX150" fmla="*/ 472620 w 2066379"/>
                <a:gd name="connsiteY150" fmla="*/ 719062 h 2083059"/>
                <a:gd name="connsiteX151" fmla="*/ 488441 w 2066379"/>
                <a:gd name="connsiteY151" fmla="*/ 744068 h 2083059"/>
                <a:gd name="connsiteX152" fmla="*/ 467007 w 2066379"/>
                <a:gd name="connsiteY152" fmla="*/ 749682 h 2083059"/>
                <a:gd name="connsiteX153" fmla="*/ 470451 w 2066379"/>
                <a:gd name="connsiteY153" fmla="*/ 760782 h 2083059"/>
                <a:gd name="connsiteX154" fmla="*/ 478362 w 2066379"/>
                <a:gd name="connsiteY154" fmla="*/ 790254 h 2083059"/>
                <a:gd name="connsiteX155" fmla="*/ 479510 w 2066379"/>
                <a:gd name="connsiteY155" fmla="*/ 820874 h 2083059"/>
                <a:gd name="connsiteX156" fmla="*/ 467134 w 2066379"/>
                <a:gd name="connsiteY156" fmla="*/ 827508 h 2083059"/>
                <a:gd name="connsiteX157" fmla="*/ 479510 w 2066379"/>
                <a:gd name="connsiteY157" fmla="*/ 874204 h 2083059"/>
                <a:gd name="connsiteX158" fmla="*/ 525695 w 2066379"/>
                <a:gd name="connsiteY158" fmla="*/ 902527 h 2083059"/>
                <a:gd name="connsiteX159" fmla="*/ 527992 w 2066379"/>
                <a:gd name="connsiteY159" fmla="*/ 912479 h 2083059"/>
                <a:gd name="connsiteX160" fmla="*/ 508216 w 2066379"/>
                <a:gd name="connsiteY160" fmla="*/ 926896 h 2083059"/>
                <a:gd name="connsiteX161" fmla="*/ 534116 w 2066379"/>
                <a:gd name="connsiteY161" fmla="*/ 974230 h 2083059"/>
                <a:gd name="connsiteX162" fmla="*/ 566777 w 2066379"/>
                <a:gd name="connsiteY162" fmla="*/ 979205 h 2083059"/>
                <a:gd name="connsiteX163" fmla="*/ 600076 w 2066379"/>
                <a:gd name="connsiteY163" fmla="*/ 1053714 h 2083059"/>
                <a:gd name="connsiteX164" fmla="*/ 597780 w 2066379"/>
                <a:gd name="connsiteY164" fmla="*/ 1099900 h 2083059"/>
                <a:gd name="connsiteX165" fmla="*/ 609007 w 2066379"/>
                <a:gd name="connsiteY165" fmla="*/ 1106534 h 2083059"/>
                <a:gd name="connsiteX166" fmla="*/ 594335 w 2066379"/>
                <a:gd name="connsiteY166" fmla="*/ 1138302 h 2083059"/>
                <a:gd name="connsiteX167" fmla="*/ 596632 w 2066379"/>
                <a:gd name="connsiteY167" fmla="*/ 1159991 h 2083059"/>
                <a:gd name="connsiteX168" fmla="*/ 612452 w 2066379"/>
                <a:gd name="connsiteY168" fmla="*/ 1158843 h 2083059"/>
                <a:gd name="connsiteX169" fmla="*/ 624317 w 2066379"/>
                <a:gd name="connsiteY169" fmla="*/ 1192780 h 2083059"/>
                <a:gd name="connsiteX170" fmla="*/ 593315 w 2066379"/>
                <a:gd name="connsiteY170" fmla="*/ 1214470 h 2083059"/>
                <a:gd name="connsiteX171" fmla="*/ 586553 w 2066379"/>
                <a:gd name="connsiteY171" fmla="*/ 1184998 h 2083059"/>
                <a:gd name="connsiteX172" fmla="*/ 582598 w 2066379"/>
                <a:gd name="connsiteY172" fmla="*/ 1198394 h 2083059"/>
                <a:gd name="connsiteX173" fmla="*/ 570222 w 2066379"/>
                <a:gd name="connsiteY173" fmla="*/ 1204008 h 2083059"/>
                <a:gd name="connsiteX174" fmla="*/ 539219 w 2066379"/>
                <a:gd name="connsiteY174" fmla="*/ 1183977 h 2083059"/>
                <a:gd name="connsiteX175" fmla="*/ 526843 w 2066379"/>
                <a:gd name="connsiteY175" fmla="*/ 1217914 h 2083059"/>
                <a:gd name="connsiteX176" fmla="*/ 555550 w 2066379"/>
                <a:gd name="connsiteY176" fmla="*/ 1235776 h 2083059"/>
                <a:gd name="connsiteX177" fmla="*/ 547129 w 2066379"/>
                <a:gd name="connsiteY177" fmla="*/ 1248535 h 2083059"/>
                <a:gd name="connsiteX178" fmla="*/ 544833 w 2066379"/>
                <a:gd name="connsiteY178" fmla="*/ 1288086 h 2083059"/>
                <a:gd name="connsiteX179" fmla="*/ 509364 w 2066379"/>
                <a:gd name="connsiteY179" fmla="*/ 1300334 h 2083059"/>
                <a:gd name="connsiteX180" fmla="*/ 512809 w 2066379"/>
                <a:gd name="connsiteY180" fmla="*/ 1312582 h 2083059"/>
                <a:gd name="connsiteX181" fmla="*/ 490865 w 2066379"/>
                <a:gd name="connsiteY181" fmla="*/ 1322023 h 2083059"/>
                <a:gd name="connsiteX182" fmla="*/ 485251 w 2066379"/>
                <a:gd name="connsiteY182" fmla="*/ 1334271 h 2083059"/>
                <a:gd name="connsiteX183" fmla="*/ 476193 w 2066379"/>
                <a:gd name="connsiteY183" fmla="*/ 1339885 h 2083059"/>
                <a:gd name="connsiteX184" fmla="*/ 456417 w 2066379"/>
                <a:gd name="connsiteY184" fmla="*/ 1330954 h 2083059"/>
                <a:gd name="connsiteX185" fmla="*/ 425414 w 2066379"/>
                <a:gd name="connsiteY185" fmla="*/ 1333123 h 2083059"/>
                <a:gd name="connsiteX186" fmla="*/ 431028 w 2066379"/>
                <a:gd name="connsiteY186" fmla="*/ 1353664 h 2083059"/>
                <a:gd name="connsiteX187" fmla="*/ 411890 w 2066379"/>
                <a:gd name="connsiteY187" fmla="*/ 1378160 h 2083059"/>
                <a:gd name="connsiteX188" fmla="*/ 411890 w 2066379"/>
                <a:gd name="connsiteY188" fmla="*/ 1402145 h 2083059"/>
                <a:gd name="connsiteX189" fmla="*/ 447359 w 2066379"/>
                <a:gd name="connsiteY189" fmla="*/ 1491709 h 2083059"/>
                <a:gd name="connsiteX190" fmla="*/ 477213 w 2066379"/>
                <a:gd name="connsiteY190" fmla="*/ 1560732 h 2083059"/>
                <a:gd name="connsiteX191" fmla="*/ 464838 w 2066379"/>
                <a:gd name="connsiteY191" fmla="*/ 1577445 h 2083059"/>
                <a:gd name="connsiteX192" fmla="*/ 479510 w 2066379"/>
                <a:gd name="connsiteY192" fmla="*/ 1583059 h 2083059"/>
                <a:gd name="connsiteX193" fmla="*/ 460883 w 2066379"/>
                <a:gd name="connsiteY193" fmla="*/ 1608066 h 2083059"/>
                <a:gd name="connsiteX194" fmla="*/ 463689 w 2066379"/>
                <a:gd name="connsiteY194" fmla="*/ 1634220 h 2083059"/>
                <a:gd name="connsiteX195" fmla="*/ 447359 w 2066379"/>
                <a:gd name="connsiteY195" fmla="*/ 1656420 h 2083059"/>
                <a:gd name="connsiteX196" fmla="*/ 458586 w 2066379"/>
                <a:gd name="connsiteY196" fmla="*/ 1668158 h 2083059"/>
                <a:gd name="connsiteX197" fmla="*/ 447359 w 2066379"/>
                <a:gd name="connsiteY197" fmla="*/ 1713195 h 2083059"/>
                <a:gd name="connsiteX198" fmla="*/ 463689 w 2066379"/>
                <a:gd name="connsiteY198" fmla="*/ 1740497 h 2083059"/>
                <a:gd name="connsiteX199" fmla="*/ 438300 w 2066379"/>
                <a:gd name="connsiteY199" fmla="*/ 1758359 h 2083059"/>
                <a:gd name="connsiteX200" fmla="*/ 469303 w 2066379"/>
                <a:gd name="connsiteY200" fmla="*/ 1817303 h 2083059"/>
                <a:gd name="connsiteX201" fmla="*/ 439449 w 2066379"/>
                <a:gd name="connsiteY201" fmla="*/ 1851240 h 2083059"/>
                <a:gd name="connsiteX202" fmla="*/ 423118 w 2066379"/>
                <a:gd name="connsiteY202" fmla="*/ 1831210 h 2083059"/>
                <a:gd name="connsiteX203" fmla="*/ 401173 w 2066379"/>
                <a:gd name="connsiteY203" fmla="*/ 1826234 h 2083059"/>
                <a:gd name="connsiteX204" fmla="*/ 392115 w 2066379"/>
                <a:gd name="connsiteY204" fmla="*/ 1843457 h 2083059"/>
                <a:gd name="connsiteX205" fmla="*/ 334575 w 2066379"/>
                <a:gd name="connsiteY205" fmla="*/ 1834527 h 2083059"/>
                <a:gd name="connsiteX206" fmla="*/ 251645 w 2066379"/>
                <a:gd name="connsiteY206" fmla="*/ 1874078 h 2083059"/>
                <a:gd name="connsiteX207" fmla="*/ 236973 w 2066379"/>
                <a:gd name="connsiteY207" fmla="*/ 1891939 h 2083059"/>
                <a:gd name="connsiteX208" fmla="*/ 236973 w 2066379"/>
                <a:gd name="connsiteY208" fmla="*/ 1891939 h 2083059"/>
                <a:gd name="connsiteX209" fmla="*/ 238121 w 2066379"/>
                <a:gd name="connsiteY209" fmla="*/ 1892450 h 2083059"/>
                <a:gd name="connsiteX210" fmla="*/ 238632 w 2066379"/>
                <a:gd name="connsiteY210" fmla="*/ 1892960 h 2083059"/>
                <a:gd name="connsiteX211" fmla="*/ 274738 w 2066379"/>
                <a:gd name="connsiteY211" fmla="*/ 1915160 h 2083059"/>
                <a:gd name="connsiteX212" fmla="*/ 287113 w 2066379"/>
                <a:gd name="connsiteY212" fmla="*/ 1895639 h 2083059"/>
                <a:gd name="connsiteX213" fmla="*/ 318754 w 2066379"/>
                <a:gd name="connsiteY213" fmla="*/ 1878926 h 2083059"/>
                <a:gd name="connsiteX214" fmla="*/ 319903 w 2066379"/>
                <a:gd name="connsiteY214" fmla="*/ 1901763 h 2083059"/>
                <a:gd name="connsiteX215" fmla="*/ 318754 w 2066379"/>
                <a:gd name="connsiteY215" fmla="*/ 1905080 h 2083059"/>
                <a:gd name="connsiteX216" fmla="*/ 321051 w 2066379"/>
                <a:gd name="connsiteY216" fmla="*/ 1905591 h 2083059"/>
                <a:gd name="connsiteX217" fmla="*/ 342485 w 2066379"/>
                <a:gd name="connsiteY217" fmla="*/ 1913884 h 2083059"/>
                <a:gd name="connsiteX218" fmla="*/ 342995 w 2066379"/>
                <a:gd name="connsiteY218" fmla="*/ 1913884 h 2083059"/>
                <a:gd name="connsiteX219" fmla="*/ 365578 w 2066379"/>
                <a:gd name="connsiteY219" fmla="*/ 1914394 h 2083059"/>
                <a:gd name="connsiteX220" fmla="*/ 383057 w 2066379"/>
                <a:gd name="connsiteY220" fmla="*/ 1921666 h 2083059"/>
                <a:gd name="connsiteX221" fmla="*/ 382546 w 2066379"/>
                <a:gd name="connsiteY221" fmla="*/ 1922815 h 2083059"/>
                <a:gd name="connsiteX222" fmla="*/ 382546 w 2066379"/>
                <a:gd name="connsiteY222" fmla="*/ 1922815 h 2083059"/>
                <a:gd name="connsiteX223" fmla="*/ 382546 w 2066379"/>
                <a:gd name="connsiteY223" fmla="*/ 1923325 h 2083059"/>
                <a:gd name="connsiteX224" fmla="*/ 393263 w 2066379"/>
                <a:gd name="connsiteY224" fmla="*/ 1935573 h 2083059"/>
                <a:gd name="connsiteX225" fmla="*/ 398877 w 2066379"/>
                <a:gd name="connsiteY225" fmla="*/ 1947311 h 2083059"/>
                <a:gd name="connsiteX226" fmla="*/ 418652 w 2066379"/>
                <a:gd name="connsiteY226" fmla="*/ 1954583 h 2083059"/>
                <a:gd name="connsiteX227" fmla="*/ 418652 w 2066379"/>
                <a:gd name="connsiteY227" fmla="*/ 1954583 h 2083059"/>
                <a:gd name="connsiteX228" fmla="*/ 418652 w 2066379"/>
                <a:gd name="connsiteY228" fmla="*/ 1955731 h 2083059"/>
                <a:gd name="connsiteX229" fmla="*/ 429880 w 2066379"/>
                <a:gd name="connsiteY229" fmla="*/ 1965172 h 2083059"/>
                <a:gd name="connsiteX230" fmla="*/ 437152 w 2066379"/>
                <a:gd name="connsiteY230" fmla="*/ 1974103 h 2083059"/>
                <a:gd name="connsiteX231" fmla="*/ 437152 w 2066379"/>
                <a:gd name="connsiteY231" fmla="*/ 1974103 h 2083059"/>
                <a:gd name="connsiteX232" fmla="*/ 437152 w 2066379"/>
                <a:gd name="connsiteY232" fmla="*/ 1974614 h 2083059"/>
                <a:gd name="connsiteX233" fmla="*/ 425287 w 2066379"/>
                <a:gd name="connsiteY233" fmla="*/ 1991837 h 2083059"/>
                <a:gd name="connsiteX234" fmla="*/ 426435 w 2066379"/>
                <a:gd name="connsiteY234" fmla="*/ 1992348 h 2083059"/>
                <a:gd name="connsiteX235" fmla="*/ 425287 w 2066379"/>
                <a:gd name="connsiteY235" fmla="*/ 1992858 h 2083059"/>
                <a:gd name="connsiteX236" fmla="*/ 439959 w 2066379"/>
                <a:gd name="connsiteY236" fmla="*/ 2028964 h 2083059"/>
                <a:gd name="connsiteX237" fmla="*/ 470962 w 2066379"/>
                <a:gd name="connsiteY237" fmla="*/ 2017865 h 2083059"/>
                <a:gd name="connsiteX238" fmla="*/ 491248 w 2066379"/>
                <a:gd name="connsiteY238" fmla="*/ 2012889 h 2083059"/>
                <a:gd name="connsiteX239" fmla="*/ 500306 w 2066379"/>
                <a:gd name="connsiteY239" fmla="*/ 2019013 h 2083059"/>
                <a:gd name="connsiteX240" fmla="*/ 484486 w 2066379"/>
                <a:gd name="connsiteY240" fmla="*/ 2046316 h 2083059"/>
                <a:gd name="connsiteX241" fmla="*/ 484486 w 2066379"/>
                <a:gd name="connsiteY241" fmla="*/ 2046316 h 2083059"/>
                <a:gd name="connsiteX242" fmla="*/ 484486 w 2066379"/>
                <a:gd name="connsiteY242" fmla="*/ 2047464 h 2083059"/>
                <a:gd name="connsiteX243" fmla="*/ 474917 w 2066379"/>
                <a:gd name="connsiteY243" fmla="*/ 2080891 h 2083059"/>
                <a:gd name="connsiteX244" fmla="*/ 474917 w 2066379"/>
                <a:gd name="connsiteY244" fmla="*/ 2080891 h 2083059"/>
                <a:gd name="connsiteX245" fmla="*/ 479382 w 2066379"/>
                <a:gd name="connsiteY245" fmla="*/ 2083060 h 2083059"/>
                <a:gd name="connsiteX246" fmla="*/ 509875 w 2066379"/>
                <a:gd name="connsiteY246" fmla="*/ 2079105 h 2083059"/>
                <a:gd name="connsiteX247" fmla="*/ 514340 w 2066379"/>
                <a:gd name="connsiteY247" fmla="*/ 2077446 h 2083059"/>
                <a:gd name="connsiteX248" fmla="*/ 521612 w 2066379"/>
                <a:gd name="connsiteY248" fmla="*/ 2073491 h 2083059"/>
                <a:gd name="connsiteX249" fmla="*/ 541898 w 2066379"/>
                <a:gd name="connsiteY249" fmla="*/ 2061243 h 2083059"/>
                <a:gd name="connsiteX250" fmla="*/ 549809 w 2066379"/>
                <a:gd name="connsiteY250" fmla="*/ 2052950 h 2083059"/>
                <a:gd name="connsiteX251" fmla="*/ 567287 w 2066379"/>
                <a:gd name="connsiteY251" fmla="*/ 2030751 h 2083059"/>
                <a:gd name="connsiteX252" fmla="*/ 568946 w 2066379"/>
                <a:gd name="connsiteY252" fmla="*/ 2020671 h 2083059"/>
                <a:gd name="connsiteX253" fmla="*/ 581322 w 2066379"/>
                <a:gd name="connsiteY253" fmla="*/ 2015058 h 2083059"/>
                <a:gd name="connsiteX254" fmla="*/ 586425 w 2066379"/>
                <a:gd name="connsiteY254" fmla="*/ 2012251 h 2083059"/>
                <a:gd name="connsiteX255" fmla="*/ 590380 w 2066379"/>
                <a:gd name="connsiteY255" fmla="*/ 2012251 h 2083059"/>
                <a:gd name="connsiteX256" fmla="*/ 593187 w 2066379"/>
                <a:gd name="connsiteY256" fmla="*/ 1990051 h 2083059"/>
                <a:gd name="connsiteX257" fmla="*/ 601607 w 2066379"/>
                <a:gd name="connsiteY257" fmla="*/ 1982269 h 2083059"/>
                <a:gd name="connsiteX258" fmla="*/ 603266 w 2066379"/>
                <a:gd name="connsiteY258" fmla="*/ 1972190 h 2083059"/>
                <a:gd name="connsiteX259" fmla="*/ 601607 w 2066379"/>
                <a:gd name="connsiteY259" fmla="*/ 1947183 h 2083059"/>
                <a:gd name="connsiteX260" fmla="*/ 593187 w 2066379"/>
                <a:gd name="connsiteY260" fmla="*/ 1926642 h 2083059"/>
                <a:gd name="connsiteX261" fmla="*/ 596632 w 2066379"/>
                <a:gd name="connsiteY261" fmla="*/ 1899339 h 2083059"/>
                <a:gd name="connsiteX262" fmla="*/ 590380 w 2066379"/>
                <a:gd name="connsiteY262" fmla="*/ 1892705 h 2083059"/>
                <a:gd name="connsiteX263" fmla="*/ 602245 w 2066379"/>
                <a:gd name="connsiteY263" fmla="*/ 1883774 h 2083059"/>
                <a:gd name="connsiteX264" fmla="*/ 624190 w 2066379"/>
                <a:gd name="connsiteY264" fmla="*/ 1913756 h 2083059"/>
                <a:gd name="connsiteX265" fmla="*/ 648941 w 2066379"/>
                <a:gd name="connsiteY265" fmla="*/ 1915415 h 2083059"/>
                <a:gd name="connsiteX266" fmla="*/ 662465 w 2066379"/>
                <a:gd name="connsiteY266" fmla="*/ 1896532 h 2083059"/>
                <a:gd name="connsiteX267" fmla="*/ 665272 w 2066379"/>
                <a:gd name="connsiteY267" fmla="*/ 1896022 h 2083059"/>
                <a:gd name="connsiteX268" fmla="*/ 679434 w 2066379"/>
                <a:gd name="connsiteY268" fmla="*/ 1899339 h 2083059"/>
                <a:gd name="connsiteX269" fmla="*/ 706481 w 2066379"/>
                <a:gd name="connsiteY269" fmla="*/ 1909418 h 2083059"/>
                <a:gd name="connsiteX270" fmla="*/ 715540 w 2066379"/>
                <a:gd name="connsiteY270" fmla="*/ 1912736 h 2083059"/>
                <a:gd name="connsiteX271" fmla="*/ 725746 w 2066379"/>
                <a:gd name="connsiteY271" fmla="*/ 1914394 h 2083059"/>
                <a:gd name="connsiteX272" fmla="*/ 741567 w 2066379"/>
                <a:gd name="connsiteY272" fmla="*/ 1926132 h 2083059"/>
                <a:gd name="connsiteX273" fmla="*/ 743863 w 2066379"/>
                <a:gd name="connsiteY273" fmla="*/ 1926642 h 2083059"/>
                <a:gd name="connsiteX274" fmla="*/ 746160 w 2066379"/>
                <a:gd name="connsiteY274" fmla="*/ 1926132 h 2083059"/>
                <a:gd name="connsiteX275" fmla="*/ 796300 w 2066379"/>
                <a:gd name="connsiteY275" fmla="*/ 1926642 h 2083059"/>
                <a:gd name="connsiteX276" fmla="*/ 783287 w 2066379"/>
                <a:gd name="connsiteY276" fmla="*/ 1945524 h 2083059"/>
                <a:gd name="connsiteX277" fmla="*/ 799107 w 2066379"/>
                <a:gd name="connsiteY277" fmla="*/ 1949990 h 2083059"/>
                <a:gd name="connsiteX278" fmla="*/ 809824 w 2066379"/>
                <a:gd name="connsiteY278" fmla="*/ 1959431 h 2083059"/>
                <a:gd name="connsiteX279" fmla="*/ 831769 w 2066379"/>
                <a:gd name="connsiteY279" fmla="*/ 1990562 h 2083059"/>
                <a:gd name="connsiteX280" fmla="*/ 896581 w 2066379"/>
                <a:gd name="connsiteY280" fmla="*/ 2005616 h 2083059"/>
                <a:gd name="connsiteX281" fmla="*/ 936642 w 2066379"/>
                <a:gd name="connsiteY281" fmla="*/ 1984438 h 2083059"/>
                <a:gd name="connsiteX282" fmla="*/ 940598 w 2066379"/>
                <a:gd name="connsiteY282" fmla="*/ 2006127 h 2083059"/>
                <a:gd name="connsiteX283" fmla="*/ 964328 w 2066379"/>
                <a:gd name="connsiteY283" fmla="*/ 2006637 h 2083059"/>
                <a:gd name="connsiteX284" fmla="*/ 971600 w 2066379"/>
                <a:gd name="connsiteY284" fmla="*/ 1996558 h 2083059"/>
                <a:gd name="connsiteX285" fmla="*/ 981807 w 2066379"/>
                <a:gd name="connsiteY285" fmla="*/ 1983800 h 2083059"/>
                <a:gd name="connsiteX286" fmla="*/ 986910 w 2066379"/>
                <a:gd name="connsiteY286" fmla="*/ 1978186 h 2083059"/>
                <a:gd name="connsiteX287" fmla="*/ 1006048 w 2066379"/>
                <a:gd name="connsiteY287" fmla="*/ 1975379 h 2083059"/>
                <a:gd name="connsiteX288" fmla="*/ 1023017 w 2066379"/>
                <a:gd name="connsiteY288" fmla="*/ 1975379 h 2083059"/>
                <a:gd name="connsiteX289" fmla="*/ 1024165 w 2066379"/>
                <a:gd name="connsiteY289" fmla="*/ 1970914 h 2083059"/>
                <a:gd name="connsiteX290" fmla="*/ 1013958 w 2066379"/>
                <a:gd name="connsiteY290" fmla="*/ 1960324 h 2083059"/>
                <a:gd name="connsiteX291" fmla="*/ 1026334 w 2066379"/>
                <a:gd name="connsiteY291" fmla="*/ 1938635 h 2083059"/>
                <a:gd name="connsiteX292" fmla="*/ 1042154 w 2066379"/>
                <a:gd name="connsiteY292" fmla="*/ 1935828 h 2083059"/>
                <a:gd name="connsiteX293" fmla="*/ 1101991 w 2066379"/>
                <a:gd name="connsiteY293" fmla="*/ 1921922 h 2083059"/>
                <a:gd name="connsiteX294" fmla="*/ 1105436 w 2066379"/>
                <a:gd name="connsiteY294" fmla="*/ 1895257 h 2083059"/>
                <a:gd name="connsiteX295" fmla="*/ 1120618 w 2066379"/>
                <a:gd name="connsiteY295" fmla="*/ 1886326 h 2083059"/>
                <a:gd name="connsiteX296" fmla="*/ 1133632 w 2066379"/>
                <a:gd name="connsiteY296" fmla="*/ 1885815 h 2083059"/>
                <a:gd name="connsiteX297" fmla="*/ 1149963 w 2066379"/>
                <a:gd name="connsiteY297" fmla="*/ 1883009 h 2083059"/>
                <a:gd name="connsiteX298" fmla="*/ 1210310 w 2066379"/>
                <a:gd name="connsiteY298" fmla="*/ 1886964 h 2083059"/>
                <a:gd name="connsiteX299" fmla="*/ 1212606 w 2066379"/>
                <a:gd name="connsiteY299" fmla="*/ 1886453 h 2083059"/>
                <a:gd name="connsiteX300" fmla="*/ 1216561 w 2066379"/>
                <a:gd name="connsiteY300" fmla="*/ 1885943 h 2083059"/>
                <a:gd name="connsiteX301" fmla="*/ 1272443 w 2066379"/>
                <a:gd name="connsiteY301" fmla="*/ 1864254 h 2083059"/>
                <a:gd name="connsiteX302" fmla="*/ 1295025 w 2066379"/>
                <a:gd name="connsiteY302" fmla="*/ 1867061 h 2083059"/>
                <a:gd name="connsiteX303" fmla="*/ 1323221 w 2066379"/>
                <a:gd name="connsiteY303" fmla="*/ 1865912 h 2083059"/>
                <a:gd name="connsiteX304" fmla="*/ 1345804 w 2066379"/>
                <a:gd name="connsiteY304" fmla="*/ 1868719 h 2083059"/>
                <a:gd name="connsiteX305" fmla="*/ 1364941 w 2066379"/>
                <a:gd name="connsiteY305" fmla="*/ 1868719 h 2083059"/>
                <a:gd name="connsiteX306" fmla="*/ 1358179 w 2066379"/>
                <a:gd name="connsiteY306" fmla="*/ 1820875 h 2083059"/>
                <a:gd name="connsiteX307" fmla="*/ 1356521 w 2066379"/>
                <a:gd name="connsiteY307" fmla="*/ 1808627 h 2083059"/>
                <a:gd name="connsiteX308" fmla="*/ 1357669 w 2066379"/>
                <a:gd name="connsiteY308" fmla="*/ 1808117 h 2083059"/>
                <a:gd name="connsiteX309" fmla="*/ 1398879 w 2066379"/>
                <a:gd name="connsiteY309" fmla="*/ 1788597 h 2083059"/>
                <a:gd name="connsiteX310" fmla="*/ 1400027 w 2066379"/>
                <a:gd name="connsiteY310" fmla="*/ 1822023 h 2083059"/>
                <a:gd name="connsiteX311" fmla="*/ 1444043 w 2066379"/>
                <a:gd name="connsiteY311" fmla="*/ 1816410 h 2083059"/>
                <a:gd name="connsiteX312" fmla="*/ 1453102 w 2066379"/>
                <a:gd name="connsiteY312" fmla="*/ 1815900 h 2083059"/>
                <a:gd name="connsiteX313" fmla="*/ 1477343 w 2066379"/>
                <a:gd name="connsiteY313" fmla="*/ 1816410 h 2083059"/>
                <a:gd name="connsiteX314" fmla="*/ 1509494 w 2066379"/>
                <a:gd name="connsiteY314" fmla="*/ 1852006 h 2083059"/>
                <a:gd name="connsiteX315" fmla="*/ 1539348 w 2066379"/>
                <a:gd name="connsiteY315" fmla="*/ 1847540 h 2083059"/>
                <a:gd name="connsiteX316" fmla="*/ 1570351 w 2066379"/>
                <a:gd name="connsiteY316" fmla="*/ 1823554 h 2083059"/>
                <a:gd name="connsiteX317" fmla="*/ 1598547 w 2066379"/>
                <a:gd name="connsiteY317" fmla="*/ 1819599 h 2083059"/>
                <a:gd name="connsiteX318" fmla="*/ 1616536 w 2066379"/>
                <a:gd name="connsiteY318" fmla="*/ 1826872 h 2083059"/>
                <a:gd name="connsiteX319" fmla="*/ 1624447 w 2066379"/>
                <a:gd name="connsiteY319" fmla="*/ 1828530 h 2083059"/>
                <a:gd name="connsiteX320" fmla="*/ 1622150 w 2066379"/>
                <a:gd name="connsiteY320" fmla="*/ 1831337 h 2083059"/>
                <a:gd name="connsiteX321" fmla="*/ 1618705 w 2066379"/>
                <a:gd name="connsiteY321" fmla="*/ 1833506 h 2083059"/>
                <a:gd name="connsiteX322" fmla="*/ 1620364 w 2066379"/>
                <a:gd name="connsiteY322" fmla="*/ 1837461 h 2083059"/>
                <a:gd name="connsiteX323" fmla="*/ 1642308 w 2066379"/>
                <a:gd name="connsiteY323" fmla="*/ 1859150 h 2083059"/>
                <a:gd name="connsiteX324" fmla="*/ 1630443 w 2066379"/>
                <a:gd name="connsiteY324" fmla="*/ 1881350 h 2083059"/>
                <a:gd name="connsiteX325" fmla="*/ 1646774 w 2066379"/>
                <a:gd name="connsiteY325" fmla="*/ 1901891 h 2083059"/>
                <a:gd name="connsiteX326" fmla="*/ 1664253 w 2066379"/>
                <a:gd name="connsiteY326" fmla="*/ 1913629 h 2083059"/>
                <a:gd name="connsiteX327" fmla="*/ 1678414 w 2066379"/>
                <a:gd name="connsiteY327" fmla="*/ 1923708 h 2083059"/>
                <a:gd name="connsiteX328" fmla="*/ 1714521 w 2066379"/>
                <a:gd name="connsiteY328" fmla="*/ 1944249 h 2083059"/>
                <a:gd name="connsiteX329" fmla="*/ 1730851 w 2066379"/>
                <a:gd name="connsiteY329" fmla="*/ 1950373 h 2083059"/>
                <a:gd name="connsiteX330" fmla="*/ 1749989 w 2066379"/>
                <a:gd name="connsiteY330" fmla="*/ 1932001 h 2083059"/>
                <a:gd name="connsiteX331" fmla="*/ 1747693 w 2066379"/>
                <a:gd name="connsiteY331" fmla="*/ 1914777 h 2083059"/>
                <a:gd name="connsiteX332" fmla="*/ 1751137 w 2066379"/>
                <a:gd name="connsiteY332" fmla="*/ 1890281 h 2083059"/>
                <a:gd name="connsiteX333" fmla="*/ 1757389 w 2066379"/>
                <a:gd name="connsiteY333" fmla="*/ 1870250 h 2083059"/>
                <a:gd name="connsiteX334" fmla="*/ 1770402 w 2066379"/>
                <a:gd name="connsiteY334" fmla="*/ 1846264 h 2083059"/>
                <a:gd name="connsiteX335" fmla="*/ 1730341 w 2066379"/>
                <a:gd name="connsiteY335" fmla="*/ 1785662 h 2083059"/>
                <a:gd name="connsiteX336" fmla="*/ 1689769 w 2066379"/>
                <a:gd name="connsiteY336" fmla="*/ 1793445 h 2083059"/>
                <a:gd name="connsiteX337" fmla="*/ 1691428 w 2066379"/>
                <a:gd name="connsiteY337" fmla="*/ 1774562 h 2083059"/>
                <a:gd name="connsiteX338" fmla="*/ 1698700 w 2066379"/>
                <a:gd name="connsiteY338" fmla="*/ 1757849 h 2083059"/>
                <a:gd name="connsiteX339" fmla="*/ 1711714 w 2066379"/>
                <a:gd name="connsiteY339" fmla="*/ 1727867 h 2083059"/>
                <a:gd name="connsiteX340" fmla="*/ 1723579 w 2066379"/>
                <a:gd name="connsiteY340" fmla="*/ 1709495 h 2083059"/>
                <a:gd name="connsiteX341" fmla="*/ 1723579 w 2066379"/>
                <a:gd name="connsiteY341" fmla="*/ 1704519 h 2083059"/>
                <a:gd name="connsiteX342" fmla="*/ 1690918 w 2066379"/>
                <a:gd name="connsiteY342" fmla="*/ 1644937 h 2083059"/>
                <a:gd name="connsiteX343" fmla="*/ 1677904 w 2066379"/>
                <a:gd name="connsiteY343" fmla="*/ 1634348 h 2083059"/>
                <a:gd name="connsiteX344" fmla="*/ 1659915 w 2066379"/>
                <a:gd name="connsiteY344" fmla="*/ 1614317 h 2083059"/>
                <a:gd name="connsiteX345" fmla="*/ 1653663 w 2066379"/>
                <a:gd name="connsiteY345" fmla="*/ 1599262 h 2083059"/>
                <a:gd name="connsiteX346" fmla="*/ 1611305 w 2066379"/>
                <a:gd name="connsiteY346" fmla="*/ 1537512 h 2083059"/>
                <a:gd name="connsiteX347" fmla="*/ 1624829 w 2066379"/>
                <a:gd name="connsiteY347" fmla="*/ 1532536 h 2083059"/>
                <a:gd name="connsiteX348" fmla="*/ 1644605 w 2066379"/>
                <a:gd name="connsiteY348" fmla="*/ 1511995 h 2083059"/>
                <a:gd name="connsiteX349" fmla="*/ 1697042 w 2066379"/>
                <a:gd name="connsiteY349" fmla="*/ 1475251 h 2083059"/>
                <a:gd name="connsiteX350" fmla="*/ 1740420 w 2066379"/>
                <a:gd name="connsiteY350" fmla="*/ 1438507 h 2083059"/>
                <a:gd name="connsiteX351" fmla="*/ 1775888 w 2066379"/>
                <a:gd name="connsiteY351" fmla="*/ 1427407 h 2083059"/>
                <a:gd name="connsiteX352" fmla="*/ 1828836 w 2066379"/>
                <a:gd name="connsiteY352" fmla="*/ 1418476 h 2083059"/>
                <a:gd name="connsiteX353" fmla="*/ 1894797 w 2066379"/>
                <a:gd name="connsiteY353" fmla="*/ 1364508 h 2083059"/>
                <a:gd name="connsiteX354" fmla="*/ 1900410 w 2066379"/>
                <a:gd name="connsiteY354" fmla="*/ 1336695 h 2083059"/>
                <a:gd name="connsiteX355" fmla="*/ 1898114 w 2066379"/>
                <a:gd name="connsiteY355" fmla="*/ 1308882 h 2083059"/>
                <a:gd name="connsiteX356" fmla="*/ 1908320 w 2066379"/>
                <a:gd name="connsiteY356" fmla="*/ 1278262 h 2083059"/>
                <a:gd name="connsiteX357" fmla="*/ 1906024 w 2066379"/>
                <a:gd name="connsiteY357" fmla="*/ 1270989 h 2083059"/>
                <a:gd name="connsiteX358" fmla="*/ 1903217 w 2066379"/>
                <a:gd name="connsiteY358" fmla="*/ 1256572 h 2083059"/>
                <a:gd name="connsiteX359" fmla="*/ 1899772 w 2066379"/>
                <a:gd name="connsiteY359" fmla="*/ 1245473 h 2083059"/>
                <a:gd name="connsiteX360" fmla="*/ 1912148 w 2066379"/>
                <a:gd name="connsiteY360" fmla="*/ 1248790 h 2083059"/>
                <a:gd name="connsiteX361" fmla="*/ 1925162 w 2066379"/>
                <a:gd name="connsiteY361" fmla="*/ 1238838 h 2083059"/>
                <a:gd name="connsiteX362" fmla="*/ 1924651 w 2066379"/>
                <a:gd name="connsiteY362" fmla="*/ 1229907 h 2083059"/>
                <a:gd name="connsiteX363" fmla="*/ 1953358 w 2066379"/>
                <a:gd name="connsiteY363" fmla="*/ 1243304 h 2083059"/>
                <a:gd name="connsiteX364" fmla="*/ 1958971 w 2066379"/>
                <a:gd name="connsiteY364" fmla="*/ 1243304 h 2083059"/>
                <a:gd name="connsiteX365" fmla="*/ 1983723 w 2066379"/>
                <a:gd name="connsiteY365" fmla="*/ 1248917 h 2083059"/>
                <a:gd name="connsiteX366" fmla="*/ 1993291 w 2066379"/>
                <a:gd name="connsiteY366" fmla="*/ 1256700 h 2083059"/>
                <a:gd name="connsiteX367" fmla="*/ 2023784 w 2066379"/>
                <a:gd name="connsiteY367" fmla="*/ 1271117 h 2083059"/>
                <a:gd name="connsiteX368" fmla="*/ 2032842 w 2066379"/>
                <a:gd name="connsiteY368" fmla="*/ 1260527 h 2083059"/>
                <a:gd name="connsiteX369" fmla="*/ 2043559 w 2066379"/>
                <a:gd name="connsiteY369" fmla="*/ 1243814 h 2083059"/>
                <a:gd name="connsiteX370" fmla="*/ 2057721 w 2066379"/>
                <a:gd name="connsiteY370" fmla="*/ 1229397 h 2083059"/>
                <a:gd name="connsiteX371" fmla="*/ 2061166 w 2066379"/>
                <a:gd name="connsiteY371" fmla="*/ 1184360 h 2083059"/>
                <a:gd name="connsiteX372" fmla="*/ 2061166 w 2066379"/>
                <a:gd name="connsiteY372" fmla="*/ 1184360 h 208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</a:cxnLst>
              <a:rect l="l" t="t" r="r" b="b"/>
              <a:pathLst>
                <a:path w="2066379" h="2083059">
                  <a:moveTo>
                    <a:pt x="2060783" y="1184488"/>
                  </a:moveTo>
                  <a:cubicBezTo>
                    <a:pt x="2060783" y="1184488"/>
                    <a:pt x="2059635" y="1150040"/>
                    <a:pt x="2059635" y="1148892"/>
                  </a:cubicBezTo>
                  <a:cubicBezTo>
                    <a:pt x="2045473" y="1139450"/>
                    <a:pt x="2060145" y="1130520"/>
                    <a:pt x="2060145" y="1129371"/>
                  </a:cubicBezTo>
                  <a:cubicBezTo>
                    <a:pt x="2060145" y="1129371"/>
                    <a:pt x="2060145" y="1129882"/>
                    <a:pt x="2060145" y="1129371"/>
                  </a:cubicBezTo>
                  <a:lnTo>
                    <a:pt x="2044963" y="1114954"/>
                  </a:lnTo>
                  <a:cubicBezTo>
                    <a:pt x="2033480" y="1073362"/>
                    <a:pt x="2025953" y="1037894"/>
                    <a:pt x="1974409" y="1031004"/>
                  </a:cubicBezTo>
                  <a:cubicBezTo>
                    <a:pt x="1950678" y="1005360"/>
                    <a:pt x="1939578" y="956623"/>
                    <a:pt x="1897093" y="998726"/>
                  </a:cubicBezTo>
                  <a:lnTo>
                    <a:pt x="1863283" y="974230"/>
                  </a:lnTo>
                  <a:cubicBezTo>
                    <a:pt x="1868259" y="946927"/>
                    <a:pt x="1837001" y="912607"/>
                    <a:pt x="1822074" y="903038"/>
                  </a:cubicBezTo>
                  <a:cubicBezTo>
                    <a:pt x="1799747" y="898062"/>
                    <a:pt x="1758920" y="902783"/>
                    <a:pt x="1755475" y="864125"/>
                  </a:cubicBezTo>
                  <a:cubicBezTo>
                    <a:pt x="1741058" y="856725"/>
                    <a:pt x="1721921" y="818833"/>
                    <a:pt x="1701890" y="809009"/>
                  </a:cubicBezTo>
                  <a:cubicBezTo>
                    <a:pt x="1691683" y="800078"/>
                    <a:pt x="1699083" y="798929"/>
                    <a:pt x="1699083" y="791785"/>
                  </a:cubicBezTo>
                  <a:cubicBezTo>
                    <a:pt x="1699083" y="784640"/>
                    <a:pt x="1643201" y="761165"/>
                    <a:pt x="1643201" y="761165"/>
                  </a:cubicBezTo>
                  <a:lnTo>
                    <a:pt x="1626871" y="766778"/>
                  </a:lnTo>
                  <a:lnTo>
                    <a:pt x="1590254" y="758485"/>
                  </a:lnTo>
                  <a:cubicBezTo>
                    <a:pt x="1590127" y="745217"/>
                    <a:pt x="1540369" y="705283"/>
                    <a:pt x="1533862" y="698904"/>
                  </a:cubicBezTo>
                  <a:cubicBezTo>
                    <a:pt x="1520849" y="628478"/>
                    <a:pt x="1530928" y="651698"/>
                    <a:pt x="1504518" y="639322"/>
                  </a:cubicBezTo>
                  <a:lnTo>
                    <a:pt x="1473515" y="552565"/>
                  </a:lnTo>
                  <a:cubicBezTo>
                    <a:pt x="1454122" y="550779"/>
                    <a:pt x="1425033" y="520797"/>
                    <a:pt x="1418782" y="500256"/>
                  </a:cubicBezTo>
                  <a:lnTo>
                    <a:pt x="1443533" y="481373"/>
                  </a:lnTo>
                  <a:lnTo>
                    <a:pt x="1442384" y="465808"/>
                  </a:lnTo>
                  <a:lnTo>
                    <a:pt x="1442384" y="462491"/>
                  </a:lnTo>
                  <a:lnTo>
                    <a:pt x="1466115" y="452412"/>
                  </a:lnTo>
                  <a:cubicBezTo>
                    <a:pt x="1457184" y="433657"/>
                    <a:pt x="1467901" y="413244"/>
                    <a:pt x="1477980" y="398444"/>
                  </a:cubicBezTo>
                  <a:lnTo>
                    <a:pt x="1447488" y="384027"/>
                  </a:lnTo>
                  <a:cubicBezTo>
                    <a:pt x="1447105" y="382496"/>
                    <a:pt x="1444681" y="382496"/>
                    <a:pt x="1445191" y="382368"/>
                  </a:cubicBezTo>
                  <a:lnTo>
                    <a:pt x="1455398" y="366803"/>
                  </a:lnTo>
                  <a:cubicBezTo>
                    <a:pt x="1359710" y="306967"/>
                    <a:pt x="1398368" y="319342"/>
                    <a:pt x="1361241" y="317301"/>
                  </a:cubicBezTo>
                  <a:lnTo>
                    <a:pt x="1349376" y="293953"/>
                  </a:lnTo>
                  <a:lnTo>
                    <a:pt x="1326794" y="279536"/>
                  </a:lnTo>
                  <a:cubicBezTo>
                    <a:pt x="1337894" y="246619"/>
                    <a:pt x="1314163" y="212299"/>
                    <a:pt x="1290177" y="197244"/>
                  </a:cubicBezTo>
                  <a:lnTo>
                    <a:pt x="1294642" y="182828"/>
                  </a:lnTo>
                  <a:lnTo>
                    <a:pt x="1290177" y="160628"/>
                  </a:lnTo>
                  <a:lnTo>
                    <a:pt x="1241057" y="133963"/>
                  </a:lnTo>
                  <a:cubicBezTo>
                    <a:pt x="1248712" y="107043"/>
                    <a:pt x="1235699" y="94157"/>
                    <a:pt x="1212351" y="86119"/>
                  </a:cubicBezTo>
                  <a:cubicBezTo>
                    <a:pt x="1207886" y="93136"/>
                    <a:pt x="1185686" y="110232"/>
                    <a:pt x="1175097" y="108319"/>
                  </a:cubicBezTo>
                  <a:cubicBezTo>
                    <a:pt x="1171524" y="75402"/>
                    <a:pt x="1103650" y="122991"/>
                    <a:pt x="1079791" y="105001"/>
                  </a:cubicBezTo>
                  <a:cubicBezTo>
                    <a:pt x="1079281" y="107170"/>
                    <a:pt x="1048533" y="124394"/>
                    <a:pt x="1045344" y="111636"/>
                  </a:cubicBezTo>
                  <a:lnTo>
                    <a:pt x="1029013" y="110488"/>
                  </a:lnTo>
                  <a:lnTo>
                    <a:pt x="1029013" y="90457"/>
                  </a:lnTo>
                  <a:lnTo>
                    <a:pt x="1013193" y="91605"/>
                  </a:lnTo>
                  <a:lnTo>
                    <a:pt x="1007579" y="51034"/>
                  </a:lnTo>
                  <a:lnTo>
                    <a:pt x="1013193" y="37127"/>
                  </a:lnTo>
                  <a:lnTo>
                    <a:pt x="979893" y="32661"/>
                  </a:lnTo>
                  <a:cubicBezTo>
                    <a:pt x="939194" y="68512"/>
                    <a:pt x="953484" y="56902"/>
                    <a:pt x="931412" y="60985"/>
                  </a:cubicBezTo>
                  <a:lnTo>
                    <a:pt x="946594" y="117760"/>
                  </a:lnTo>
                  <a:cubicBezTo>
                    <a:pt x="949528" y="126946"/>
                    <a:pt x="943022" y="177341"/>
                    <a:pt x="938173" y="186783"/>
                  </a:cubicBezTo>
                  <a:lnTo>
                    <a:pt x="891350" y="178490"/>
                  </a:lnTo>
                  <a:lnTo>
                    <a:pt x="894795" y="143404"/>
                  </a:lnTo>
                  <a:lnTo>
                    <a:pt x="878464" y="127839"/>
                  </a:lnTo>
                  <a:lnTo>
                    <a:pt x="855882" y="141235"/>
                  </a:lnTo>
                  <a:cubicBezTo>
                    <a:pt x="843889" y="117377"/>
                    <a:pt x="847079" y="137663"/>
                    <a:pt x="826027" y="128987"/>
                  </a:cubicBezTo>
                  <a:cubicBezTo>
                    <a:pt x="813014" y="104491"/>
                    <a:pt x="731360" y="118398"/>
                    <a:pt x="717709" y="136770"/>
                  </a:cubicBezTo>
                  <a:cubicBezTo>
                    <a:pt x="717709" y="143404"/>
                    <a:pt x="728936" y="144552"/>
                    <a:pt x="727915" y="149528"/>
                  </a:cubicBezTo>
                  <a:cubicBezTo>
                    <a:pt x="726767" y="153994"/>
                    <a:pt x="715540" y="160628"/>
                    <a:pt x="715540" y="160628"/>
                  </a:cubicBezTo>
                  <a:lnTo>
                    <a:pt x="727915" y="168411"/>
                  </a:lnTo>
                  <a:cubicBezTo>
                    <a:pt x="729191" y="182190"/>
                    <a:pt x="747053" y="177469"/>
                    <a:pt x="756622" y="183465"/>
                  </a:cubicBezTo>
                  <a:cubicBezTo>
                    <a:pt x="775632" y="191503"/>
                    <a:pt x="784180" y="210258"/>
                    <a:pt x="757770" y="201327"/>
                  </a:cubicBezTo>
                  <a:cubicBezTo>
                    <a:pt x="748839" y="204772"/>
                    <a:pt x="728171" y="207196"/>
                    <a:pt x="721154" y="203496"/>
                  </a:cubicBezTo>
                  <a:lnTo>
                    <a:pt x="716688" y="234116"/>
                  </a:lnTo>
                  <a:lnTo>
                    <a:pt x="698061" y="212427"/>
                  </a:lnTo>
                  <a:cubicBezTo>
                    <a:pt x="692575" y="216892"/>
                    <a:pt x="655831" y="229778"/>
                    <a:pt x="669354" y="202475"/>
                  </a:cubicBezTo>
                  <a:cubicBezTo>
                    <a:pt x="658893" y="191758"/>
                    <a:pt x="659020" y="156163"/>
                    <a:pt x="667058" y="145701"/>
                  </a:cubicBezTo>
                  <a:cubicBezTo>
                    <a:pt x="656341" y="141618"/>
                    <a:pt x="647793" y="136515"/>
                    <a:pt x="646772" y="123501"/>
                  </a:cubicBezTo>
                  <a:lnTo>
                    <a:pt x="633759" y="134601"/>
                  </a:lnTo>
                  <a:lnTo>
                    <a:pt x="610666" y="117887"/>
                  </a:lnTo>
                  <a:lnTo>
                    <a:pt x="607221" y="101812"/>
                  </a:lnTo>
                  <a:lnTo>
                    <a:pt x="601607" y="107426"/>
                  </a:lnTo>
                  <a:lnTo>
                    <a:pt x="579663" y="101812"/>
                  </a:lnTo>
                  <a:lnTo>
                    <a:pt x="589232" y="86247"/>
                  </a:lnTo>
                  <a:lnTo>
                    <a:pt x="574049" y="82929"/>
                  </a:lnTo>
                  <a:cubicBezTo>
                    <a:pt x="572518" y="82547"/>
                    <a:pt x="559505" y="54606"/>
                    <a:pt x="560526" y="51161"/>
                  </a:cubicBezTo>
                  <a:cubicBezTo>
                    <a:pt x="560526" y="51161"/>
                    <a:pt x="548660" y="44527"/>
                    <a:pt x="544195" y="44527"/>
                  </a:cubicBezTo>
                  <a:cubicBezTo>
                    <a:pt x="517657" y="44909"/>
                    <a:pt x="523526" y="-5359"/>
                    <a:pt x="481041" y="12758"/>
                  </a:cubicBezTo>
                  <a:lnTo>
                    <a:pt x="470834" y="0"/>
                  </a:lnTo>
                  <a:lnTo>
                    <a:pt x="446593" y="20541"/>
                  </a:lnTo>
                  <a:lnTo>
                    <a:pt x="436387" y="61113"/>
                  </a:lnTo>
                  <a:lnTo>
                    <a:pt x="387905" y="101684"/>
                  </a:lnTo>
                  <a:cubicBezTo>
                    <a:pt x="346057" y="110998"/>
                    <a:pt x="327813" y="56647"/>
                    <a:pt x="324751" y="122225"/>
                  </a:cubicBezTo>
                  <a:cubicBezTo>
                    <a:pt x="318116" y="137535"/>
                    <a:pt x="312758" y="158587"/>
                    <a:pt x="313523" y="171728"/>
                  </a:cubicBezTo>
                  <a:cubicBezTo>
                    <a:pt x="307017" y="173514"/>
                    <a:pt x="260704" y="192396"/>
                    <a:pt x="284817" y="210130"/>
                  </a:cubicBezTo>
                  <a:cubicBezTo>
                    <a:pt x="281372" y="210386"/>
                    <a:pt x="260193" y="214723"/>
                    <a:pt x="259428" y="220720"/>
                  </a:cubicBezTo>
                  <a:cubicBezTo>
                    <a:pt x="247690" y="208089"/>
                    <a:pt x="238249" y="211406"/>
                    <a:pt x="236335" y="210130"/>
                  </a:cubicBezTo>
                  <a:lnTo>
                    <a:pt x="225108" y="200179"/>
                  </a:lnTo>
                  <a:lnTo>
                    <a:pt x="213242" y="211279"/>
                  </a:lnTo>
                  <a:cubicBezTo>
                    <a:pt x="213242" y="211279"/>
                    <a:pt x="221153" y="224037"/>
                    <a:pt x="220004" y="228502"/>
                  </a:cubicBezTo>
                  <a:cubicBezTo>
                    <a:pt x="218856" y="232968"/>
                    <a:pt x="217708" y="242919"/>
                    <a:pt x="217708" y="242919"/>
                  </a:cubicBezTo>
                  <a:lnTo>
                    <a:pt x="231870" y="252361"/>
                  </a:lnTo>
                  <a:lnTo>
                    <a:pt x="230721" y="291912"/>
                  </a:lnTo>
                  <a:lnTo>
                    <a:pt x="182240" y="300842"/>
                  </a:lnTo>
                  <a:cubicBezTo>
                    <a:pt x="182240" y="300842"/>
                    <a:pt x="176626" y="278005"/>
                    <a:pt x="171012" y="273540"/>
                  </a:cubicBezTo>
                  <a:cubicBezTo>
                    <a:pt x="165399" y="269074"/>
                    <a:pt x="153533" y="260143"/>
                    <a:pt x="153533" y="260143"/>
                  </a:cubicBezTo>
                  <a:lnTo>
                    <a:pt x="141158" y="273540"/>
                  </a:lnTo>
                  <a:lnTo>
                    <a:pt x="100586" y="256826"/>
                  </a:lnTo>
                  <a:lnTo>
                    <a:pt x="74687" y="296377"/>
                  </a:lnTo>
                  <a:lnTo>
                    <a:pt x="58356" y="263588"/>
                  </a:lnTo>
                  <a:lnTo>
                    <a:pt x="48149" y="275836"/>
                  </a:lnTo>
                  <a:lnTo>
                    <a:pt x="23908" y="279153"/>
                  </a:lnTo>
                  <a:cubicBezTo>
                    <a:pt x="11533" y="295739"/>
                    <a:pt x="-21129" y="318959"/>
                    <a:pt x="20463" y="329166"/>
                  </a:cubicBezTo>
                  <a:cubicBezTo>
                    <a:pt x="20463" y="329166"/>
                    <a:pt x="13701" y="398189"/>
                    <a:pt x="18167" y="405971"/>
                  </a:cubicBezTo>
                  <a:cubicBezTo>
                    <a:pt x="22632" y="413754"/>
                    <a:pt x="27225" y="458281"/>
                    <a:pt x="27225" y="458281"/>
                  </a:cubicBezTo>
                  <a:lnTo>
                    <a:pt x="48149" y="448840"/>
                  </a:lnTo>
                  <a:lnTo>
                    <a:pt x="39729" y="481629"/>
                  </a:lnTo>
                  <a:cubicBezTo>
                    <a:pt x="60142" y="475632"/>
                    <a:pt x="62056" y="485839"/>
                    <a:pt x="51594" y="501149"/>
                  </a:cubicBezTo>
                  <a:cubicBezTo>
                    <a:pt x="69583" y="508549"/>
                    <a:pt x="68818" y="543124"/>
                    <a:pt x="45980" y="540700"/>
                  </a:cubicBezTo>
                  <a:lnTo>
                    <a:pt x="42025" y="576806"/>
                  </a:lnTo>
                  <a:lnTo>
                    <a:pt x="30798" y="594030"/>
                  </a:lnTo>
                  <a:lnTo>
                    <a:pt x="44959" y="625160"/>
                  </a:lnTo>
                  <a:lnTo>
                    <a:pt x="72007" y="620695"/>
                  </a:lnTo>
                  <a:lnTo>
                    <a:pt x="86169" y="628988"/>
                  </a:lnTo>
                  <a:lnTo>
                    <a:pt x="101989" y="628988"/>
                  </a:lnTo>
                  <a:lnTo>
                    <a:pt x="105945" y="613933"/>
                  </a:lnTo>
                  <a:lnTo>
                    <a:pt x="119468" y="606150"/>
                  </a:lnTo>
                  <a:lnTo>
                    <a:pt x="120617" y="579996"/>
                  </a:lnTo>
                  <a:lnTo>
                    <a:pt x="153916" y="574382"/>
                  </a:lnTo>
                  <a:lnTo>
                    <a:pt x="159530" y="586630"/>
                  </a:lnTo>
                  <a:lnTo>
                    <a:pt x="178157" y="577699"/>
                  </a:lnTo>
                  <a:cubicBezTo>
                    <a:pt x="176371" y="576168"/>
                    <a:pt x="183771" y="546058"/>
                    <a:pt x="184919" y="544910"/>
                  </a:cubicBezTo>
                  <a:lnTo>
                    <a:pt x="172543" y="526028"/>
                  </a:lnTo>
                  <a:cubicBezTo>
                    <a:pt x="168205" y="539041"/>
                    <a:pt x="159785" y="548993"/>
                    <a:pt x="143837" y="543890"/>
                  </a:cubicBezTo>
                  <a:lnTo>
                    <a:pt x="155064" y="533810"/>
                  </a:lnTo>
                  <a:lnTo>
                    <a:pt x="137075" y="527176"/>
                  </a:lnTo>
                  <a:lnTo>
                    <a:pt x="138223" y="506635"/>
                  </a:lnTo>
                  <a:cubicBezTo>
                    <a:pt x="140137" y="509314"/>
                    <a:pt x="177391" y="497449"/>
                    <a:pt x="180581" y="494387"/>
                  </a:cubicBezTo>
                  <a:lnTo>
                    <a:pt x="198060" y="504466"/>
                  </a:lnTo>
                  <a:lnTo>
                    <a:pt x="209287" y="493366"/>
                  </a:lnTo>
                  <a:cubicBezTo>
                    <a:pt x="211712" y="500383"/>
                    <a:pt x="233273" y="510080"/>
                    <a:pt x="237994" y="513397"/>
                  </a:cubicBezTo>
                  <a:lnTo>
                    <a:pt x="243607" y="528452"/>
                  </a:lnTo>
                  <a:lnTo>
                    <a:pt x="244756" y="498980"/>
                  </a:lnTo>
                  <a:lnTo>
                    <a:pt x="273462" y="489539"/>
                  </a:lnTo>
                  <a:cubicBezTo>
                    <a:pt x="273462" y="489539"/>
                    <a:pt x="264404" y="515694"/>
                    <a:pt x="264404" y="522328"/>
                  </a:cubicBezTo>
                  <a:cubicBezTo>
                    <a:pt x="264404" y="529600"/>
                    <a:pt x="271166" y="555117"/>
                    <a:pt x="271166" y="555117"/>
                  </a:cubicBezTo>
                  <a:lnTo>
                    <a:pt x="287496" y="555117"/>
                  </a:lnTo>
                  <a:lnTo>
                    <a:pt x="288645" y="535086"/>
                  </a:lnTo>
                  <a:lnTo>
                    <a:pt x="298851" y="531769"/>
                  </a:lnTo>
                  <a:lnTo>
                    <a:pt x="316330" y="558434"/>
                  </a:lnTo>
                  <a:lnTo>
                    <a:pt x="329854" y="535086"/>
                  </a:lnTo>
                  <a:lnTo>
                    <a:pt x="337764" y="545038"/>
                  </a:lnTo>
                  <a:lnTo>
                    <a:pt x="352947" y="550651"/>
                  </a:lnTo>
                  <a:lnTo>
                    <a:pt x="351798" y="577954"/>
                  </a:lnTo>
                  <a:cubicBezTo>
                    <a:pt x="352819" y="578720"/>
                    <a:pt x="369788" y="600026"/>
                    <a:pt x="368767" y="604109"/>
                  </a:cubicBezTo>
                  <a:cubicBezTo>
                    <a:pt x="361367" y="603471"/>
                    <a:pt x="341209" y="634091"/>
                    <a:pt x="340061" y="636898"/>
                  </a:cubicBezTo>
                  <a:lnTo>
                    <a:pt x="355243" y="643532"/>
                  </a:lnTo>
                  <a:cubicBezTo>
                    <a:pt x="354478" y="640726"/>
                    <a:pt x="373743" y="619547"/>
                    <a:pt x="376167" y="619547"/>
                  </a:cubicBezTo>
                  <a:cubicBezTo>
                    <a:pt x="381653" y="621205"/>
                    <a:pt x="386374" y="683339"/>
                    <a:pt x="385225" y="686273"/>
                  </a:cubicBezTo>
                  <a:lnTo>
                    <a:pt x="429752" y="686273"/>
                  </a:lnTo>
                  <a:cubicBezTo>
                    <a:pt x="422990" y="676194"/>
                    <a:pt x="443021" y="651060"/>
                    <a:pt x="447231" y="646722"/>
                  </a:cubicBezTo>
                  <a:cubicBezTo>
                    <a:pt x="448890" y="658332"/>
                    <a:pt x="447869" y="673515"/>
                    <a:pt x="465858" y="669559"/>
                  </a:cubicBezTo>
                  <a:lnTo>
                    <a:pt x="469303" y="697883"/>
                  </a:lnTo>
                  <a:lnTo>
                    <a:pt x="456290" y="717914"/>
                  </a:lnTo>
                  <a:cubicBezTo>
                    <a:pt x="456290" y="717914"/>
                    <a:pt x="470451" y="715745"/>
                    <a:pt x="472620" y="719062"/>
                  </a:cubicBezTo>
                  <a:cubicBezTo>
                    <a:pt x="474917" y="722379"/>
                    <a:pt x="491758" y="738582"/>
                    <a:pt x="488441" y="744068"/>
                  </a:cubicBezTo>
                  <a:cubicBezTo>
                    <a:pt x="484996" y="749682"/>
                    <a:pt x="467007" y="749682"/>
                    <a:pt x="467007" y="749682"/>
                  </a:cubicBezTo>
                  <a:lnTo>
                    <a:pt x="470451" y="760782"/>
                  </a:lnTo>
                  <a:cubicBezTo>
                    <a:pt x="458714" y="776092"/>
                    <a:pt x="461138" y="780813"/>
                    <a:pt x="478362" y="790254"/>
                  </a:cubicBezTo>
                  <a:cubicBezTo>
                    <a:pt x="479510" y="796888"/>
                    <a:pt x="473513" y="816026"/>
                    <a:pt x="479510" y="820874"/>
                  </a:cubicBezTo>
                  <a:lnTo>
                    <a:pt x="467134" y="827508"/>
                  </a:lnTo>
                  <a:lnTo>
                    <a:pt x="479510" y="874204"/>
                  </a:lnTo>
                  <a:lnTo>
                    <a:pt x="525695" y="902527"/>
                  </a:lnTo>
                  <a:lnTo>
                    <a:pt x="527992" y="912479"/>
                  </a:lnTo>
                  <a:lnTo>
                    <a:pt x="508216" y="926896"/>
                  </a:lnTo>
                  <a:lnTo>
                    <a:pt x="534116" y="974230"/>
                  </a:lnTo>
                  <a:lnTo>
                    <a:pt x="566777" y="979205"/>
                  </a:lnTo>
                  <a:cubicBezTo>
                    <a:pt x="570860" y="988519"/>
                    <a:pt x="635545" y="1041211"/>
                    <a:pt x="600076" y="1053714"/>
                  </a:cubicBezTo>
                  <a:cubicBezTo>
                    <a:pt x="615897" y="1074128"/>
                    <a:pt x="619087" y="1081655"/>
                    <a:pt x="597780" y="1099900"/>
                  </a:cubicBezTo>
                  <a:lnTo>
                    <a:pt x="609007" y="1106534"/>
                  </a:lnTo>
                  <a:cubicBezTo>
                    <a:pt x="606328" y="1145319"/>
                    <a:pt x="607859" y="1132689"/>
                    <a:pt x="594335" y="1138302"/>
                  </a:cubicBezTo>
                  <a:lnTo>
                    <a:pt x="596632" y="1159991"/>
                  </a:lnTo>
                  <a:lnTo>
                    <a:pt x="612452" y="1158843"/>
                  </a:lnTo>
                  <a:lnTo>
                    <a:pt x="624317" y="1192780"/>
                  </a:lnTo>
                  <a:lnTo>
                    <a:pt x="593315" y="1214470"/>
                  </a:lnTo>
                  <a:cubicBezTo>
                    <a:pt x="597652" y="1179129"/>
                    <a:pt x="598673" y="1190739"/>
                    <a:pt x="586553" y="1184998"/>
                  </a:cubicBezTo>
                  <a:lnTo>
                    <a:pt x="582598" y="1198394"/>
                  </a:lnTo>
                  <a:lnTo>
                    <a:pt x="570222" y="1204008"/>
                  </a:lnTo>
                  <a:cubicBezTo>
                    <a:pt x="570222" y="1204008"/>
                    <a:pt x="543684" y="1183977"/>
                    <a:pt x="539219" y="1183977"/>
                  </a:cubicBezTo>
                  <a:cubicBezTo>
                    <a:pt x="517147" y="1186401"/>
                    <a:pt x="525823" y="1207325"/>
                    <a:pt x="526843" y="1217914"/>
                  </a:cubicBezTo>
                  <a:lnTo>
                    <a:pt x="555550" y="1235776"/>
                  </a:lnTo>
                  <a:lnTo>
                    <a:pt x="547129" y="1248535"/>
                  </a:lnTo>
                  <a:lnTo>
                    <a:pt x="544833" y="1288086"/>
                  </a:lnTo>
                  <a:cubicBezTo>
                    <a:pt x="540112" y="1292041"/>
                    <a:pt x="514850" y="1298420"/>
                    <a:pt x="509364" y="1300334"/>
                  </a:cubicBezTo>
                  <a:lnTo>
                    <a:pt x="512809" y="1312582"/>
                  </a:lnTo>
                  <a:lnTo>
                    <a:pt x="490865" y="1322023"/>
                  </a:lnTo>
                  <a:lnTo>
                    <a:pt x="485251" y="1334271"/>
                  </a:lnTo>
                  <a:lnTo>
                    <a:pt x="476193" y="1339885"/>
                  </a:lnTo>
                  <a:lnTo>
                    <a:pt x="456417" y="1330954"/>
                  </a:lnTo>
                  <a:lnTo>
                    <a:pt x="425414" y="1333123"/>
                  </a:lnTo>
                  <a:lnTo>
                    <a:pt x="431028" y="1353664"/>
                  </a:lnTo>
                  <a:lnTo>
                    <a:pt x="411890" y="1378160"/>
                  </a:lnTo>
                  <a:lnTo>
                    <a:pt x="411890" y="1402145"/>
                  </a:lnTo>
                  <a:cubicBezTo>
                    <a:pt x="438173" y="1410694"/>
                    <a:pt x="438428" y="1461217"/>
                    <a:pt x="447359" y="1491709"/>
                  </a:cubicBezTo>
                  <a:cubicBezTo>
                    <a:pt x="451824" y="1509571"/>
                    <a:pt x="477213" y="1560732"/>
                    <a:pt x="477213" y="1560732"/>
                  </a:cubicBezTo>
                  <a:lnTo>
                    <a:pt x="464838" y="1577445"/>
                  </a:lnTo>
                  <a:lnTo>
                    <a:pt x="479510" y="1583059"/>
                  </a:lnTo>
                  <a:lnTo>
                    <a:pt x="460883" y="1608066"/>
                  </a:lnTo>
                  <a:lnTo>
                    <a:pt x="463689" y="1634220"/>
                  </a:lnTo>
                  <a:lnTo>
                    <a:pt x="447359" y="1656420"/>
                  </a:lnTo>
                  <a:lnTo>
                    <a:pt x="458586" y="1668158"/>
                  </a:lnTo>
                  <a:cubicBezTo>
                    <a:pt x="464583" y="1680661"/>
                    <a:pt x="460117" y="1703371"/>
                    <a:pt x="447359" y="1713195"/>
                  </a:cubicBezTo>
                  <a:lnTo>
                    <a:pt x="463689" y="1740497"/>
                  </a:lnTo>
                  <a:lnTo>
                    <a:pt x="438300" y="1758359"/>
                  </a:lnTo>
                  <a:cubicBezTo>
                    <a:pt x="451441" y="1767928"/>
                    <a:pt x="470707" y="1796762"/>
                    <a:pt x="469303" y="1817303"/>
                  </a:cubicBezTo>
                  <a:cubicBezTo>
                    <a:pt x="467007" y="1825086"/>
                    <a:pt x="439449" y="1851240"/>
                    <a:pt x="439449" y="1851240"/>
                  </a:cubicBezTo>
                  <a:lnTo>
                    <a:pt x="423118" y="1831210"/>
                  </a:lnTo>
                  <a:lnTo>
                    <a:pt x="401173" y="1826234"/>
                  </a:lnTo>
                  <a:lnTo>
                    <a:pt x="392115" y="1843457"/>
                  </a:lnTo>
                  <a:lnTo>
                    <a:pt x="334575" y="1834527"/>
                  </a:lnTo>
                  <a:cubicBezTo>
                    <a:pt x="331640" y="1863233"/>
                    <a:pt x="273462" y="1877778"/>
                    <a:pt x="251645" y="1874078"/>
                  </a:cubicBezTo>
                  <a:lnTo>
                    <a:pt x="236973" y="1891939"/>
                  </a:lnTo>
                  <a:lnTo>
                    <a:pt x="236973" y="1891939"/>
                  </a:lnTo>
                  <a:cubicBezTo>
                    <a:pt x="236973" y="1891939"/>
                    <a:pt x="237483" y="1892450"/>
                    <a:pt x="238121" y="1892450"/>
                  </a:cubicBezTo>
                  <a:cubicBezTo>
                    <a:pt x="238121" y="1892960"/>
                    <a:pt x="238632" y="1892960"/>
                    <a:pt x="238632" y="1892960"/>
                  </a:cubicBezTo>
                  <a:cubicBezTo>
                    <a:pt x="244245" y="1896277"/>
                    <a:pt x="261724" y="1907377"/>
                    <a:pt x="274738" y="1915160"/>
                  </a:cubicBezTo>
                  <a:cubicBezTo>
                    <a:pt x="284179" y="1914522"/>
                    <a:pt x="283541" y="1901508"/>
                    <a:pt x="287113" y="1895639"/>
                  </a:cubicBezTo>
                  <a:cubicBezTo>
                    <a:pt x="299234" y="1868847"/>
                    <a:pt x="310079" y="1875481"/>
                    <a:pt x="318754" y="1878926"/>
                  </a:cubicBezTo>
                  <a:cubicBezTo>
                    <a:pt x="321051" y="1885050"/>
                    <a:pt x="320413" y="1897298"/>
                    <a:pt x="319903" y="1901763"/>
                  </a:cubicBezTo>
                  <a:cubicBezTo>
                    <a:pt x="319392" y="1902274"/>
                    <a:pt x="319392" y="1905080"/>
                    <a:pt x="318754" y="1905080"/>
                  </a:cubicBezTo>
                  <a:cubicBezTo>
                    <a:pt x="319903" y="1905080"/>
                    <a:pt x="320413" y="1905080"/>
                    <a:pt x="321051" y="1905591"/>
                  </a:cubicBezTo>
                  <a:cubicBezTo>
                    <a:pt x="328706" y="1906739"/>
                    <a:pt x="341975" y="1913629"/>
                    <a:pt x="342485" y="1913884"/>
                  </a:cubicBezTo>
                  <a:lnTo>
                    <a:pt x="342995" y="1913884"/>
                  </a:lnTo>
                  <a:cubicBezTo>
                    <a:pt x="342995" y="1892705"/>
                    <a:pt x="365578" y="1914394"/>
                    <a:pt x="365578" y="1914394"/>
                  </a:cubicBezTo>
                  <a:cubicBezTo>
                    <a:pt x="383567" y="1905463"/>
                    <a:pt x="383057" y="1917711"/>
                    <a:pt x="383057" y="1921666"/>
                  </a:cubicBezTo>
                  <a:cubicBezTo>
                    <a:pt x="383057" y="1921666"/>
                    <a:pt x="382887" y="1922049"/>
                    <a:pt x="382546" y="1922815"/>
                  </a:cubicBezTo>
                  <a:lnTo>
                    <a:pt x="382546" y="1922815"/>
                  </a:lnTo>
                  <a:lnTo>
                    <a:pt x="382546" y="1923325"/>
                  </a:lnTo>
                  <a:cubicBezTo>
                    <a:pt x="387139" y="1927153"/>
                    <a:pt x="394284" y="1929832"/>
                    <a:pt x="393263" y="1935573"/>
                  </a:cubicBezTo>
                  <a:cubicBezTo>
                    <a:pt x="390329" y="1939656"/>
                    <a:pt x="398749" y="1947949"/>
                    <a:pt x="398877" y="1947311"/>
                  </a:cubicBezTo>
                  <a:cubicBezTo>
                    <a:pt x="421204" y="1937997"/>
                    <a:pt x="421204" y="1946162"/>
                    <a:pt x="418652" y="1954583"/>
                  </a:cubicBezTo>
                  <a:lnTo>
                    <a:pt x="418652" y="1954583"/>
                  </a:lnTo>
                  <a:lnTo>
                    <a:pt x="418652" y="1955731"/>
                  </a:lnTo>
                  <a:cubicBezTo>
                    <a:pt x="422097" y="1956242"/>
                    <a:pt x="429880" y="1965172"/>
                    <a:pt x="429880" y="1965172"/>
                  </a:cubicBezTo>
                  <a:cubicBezTo>
                    <a:pt x="439831" y="1961472"/>
                    <a:pt x="438938" y="1970148"/>
                    <a:pt x="437152" y="1974103"/>
                  </a:cubicBezTo>
                  <a:lnTo>
                    <a:pt x="437152" y="1974103"/>
                  </a:lnTo>
                  <a:lnTo>
                    <a:pt x="437152" y="1974614"/>
                  </a:lnTo>
                  <a:cubicBezTo>
                    <a:pt x="450166" y="1981503"/>
                    <a:pt x="426180" y="1991965"/>
                    <a:pt x="425287" y="1991837"/>
                  </a:cubicBezTo>
                  <a:cubicBezTo>
                    <a:pt x="425287" y="1991837"/>
                    <a:pt x="425797" y="1991837"/>
                    <a:pt x="426435" y="1992348"/>
                  </a:cubicBezTo>
                  <a:cubicBezTo>
                    <a:pt x="425925" y="1992348"/>
                    <a:pt x="425287" y="1992858"/>
                    <a:pt x="425287" y="1992858"/>
                  </a:cubicBezTo>
                  <a:lnTo>
                    <a:pt x="439959" y="2028964"/>
                  </a:lnTo>
                  <a:cubicBezTo>
                    <a:pt x="454886" y="2007275"/>
                    <a:pt x="459096" y="2027688"/>
                    <a:pt x="470962" y="2017865"/>
                  </a:cubicBezTo>
                  <a:cubicBezTo>
                    <a:pt x="472620" y="2000003"/>
                    <a:pt x="491248" y="2012889"/>
                    <a:pt x="491248" y="2012889"/>
                  </a:cubicBezTo>
                  <a:cubicBezTo>
                    <a:pt x="500306" y="2004596"/>
                    <a:pt x="500306" y="2015696"/>
                    <a:pt x="500306" y="2019013"/>
                  </a:cubicBezTo>
                  <a:cubicBezTo>
                    <a:pt x="494692" y="2016206"/>
                    <a:pt x="483337" y="2047336"/>
                    <a:pt x="484486" y="2046316"/>
                  </a:cubicBezTo>
                  <a:lnTo>
                    <a:pt x="484486" y="2046316"/>
                  </a:lnTo>
                  <a:cubicBezTo>
                    <a:pt x="484486" y="2046316"/>
                    <a:pt x="483975" y="2047464"/>
                    <a:pt x="484486" y="2047464"/>
                  </a:cubicBezTo>
                  <a:cubicBezTo>
                    <a:pt x="504771" y="2062008"/>
                    <a:pt x="461903" y="2064815"/>
                    <a:pt x="474917" y="2080891"/>
                  </a:cubicBezTo>
                  <a:lnTo>
                    <a:pt x="474917" y="2080891"/>
                  </a:lnTo>
                  <a:cubicBezTo>
                    <a:pt x="477596" y="2079998"/>
                    <a:pt x="478106" y="2081656"/>
                    <a:pt x="479382" y="2083060"/>
                  </a:cubicBezTo>
                  <a:cubicBezTo>
                    <a:pt x="483210" y="2082932"/>
                    <a:pt x="514085" y="2079487"/>
                    <a:pt x="509875" y="2079105"/>
                  </a:cubicBezTo>
                  <a:cubicBezTo>
                    <a:pt x="512171" y="2077956"/>
                    <a:pt x="514340" y="2077446"/>
                    <a:pt x="514340" y="2077446"/>
                  </a:cubicBezTo>
                  <a:cubicBezTo>
                    <a:pt x="511533" y="2075788"/>
                    <a:pt x="518806" y="2074639"/>
                    <a:pt x="521612" y="2073491"/>
                  </a:cubicBezTo>
                  <a:cubicBezTo>
                    <a:pt x="528502" y="2066729"/>
                    <a:pt x="536029" y="2064560"/>
                    <a:pt x="541898" y="2061243"/>
                  </a:cubicBezTo>
                  <a:cubicBezTo>
                    <a:pt x="544195" y="2058436"/>
                    <a:pt x="549809" y="2052950"/>
                    <a:pt x="549809" y="2052950"/>
                  </a:cubicBezTo>
                  <a:cubicBezTo>
                    <a:pt x="548660" y="2046826"/>
                    <a:pt x="567287" y="2030751"/>
                    <a:pt x="567287" y="2030751"/>
                  </a:cubicBezTo>
                  <a:cubicBezTo>
                    <a:pt x="566139" y="2027433"/>
                    <a:pt x="570094" y="2021820"/>
                    <a:pt x="568946" y="2020671"/>
                  </a:cubicBezTo>
                  <a:cubicBezTo>
                    <a:pt x="568946" y="2017354"/>
                    <a:pt x="581322" y="2016206"/>
                    <a:pt x="581322" y="2015058"/>
                  </a:cubicBezTo>
                  <a:cubicBezTo>
                    <a:pt x="582470" y="2011740"/>
                    <a:pt x="584766" y="2011740"/>
                    <a:pt x="586425" y="2012251"/>
                  </a:cubicBezTo>
                  <a:cubicBezTo>
                    <a:pt x="587573" y="2011740"/>
                    <a:pt x="589870" y="2012761"/>
                    <a:pt x="590380" y="2012251"/>
                  </a:cubicBezTo>
                  <a:cubicBezTo>
                    <a:pt x="587573" y="2004468"/>
                    <a:pt x="593187" y="1991072"/>
                    <a:pt x="593187" y="1990051"/>
                  </a:cubicBezTo>
                  <a:cubicBezTo>
                    <a:pt x="599949" y="1992858"/>
                    <a:pt x="601607" y="1983417"/>
                    <a:pt x="601607" y="1982269"/>
                  </a:cubicBezTo>
                  <a:cubicBezTo>
                    <a:pt x="611814" y="1979462"/>
                    <a:pt x="603266" y="1973338"/>
                    <a:pt x="603266" y="1972190"/>
                  </a:cubicBezTo>
                  <a:cubicBezTo>
                    <a:pt x="605818" y="1960579"/>
                    <a:pt x="606328" y="1954583"/>
                    <a:pt x="601607" y="1947183"/>
                  </a:cubicBezTo>
                  <a:cubicBezTo>
                    <a:pt x="584766" y="1944249"/>
                    <a:pt x="589104" y="1933659"/>
                    <a:pt x="593187" y="1926642"/>
                  </a:cubicBezTo>
                  <a:cubicBezTo>
                    <a:pt x="592677" y="1914394"/>
                    <a:pt x="595994" y="1904953"/>
                    <a:pt x="596632" y="1899339"/>
                  </a:cubicBezTo>
                  <a:cubicBezTo>
                    <a:pt x="596632" y="1893725"/>
                    <a:pt x="592677" y="1899339"/>
                    <a:pt x="590380" y="1892705"/>
                  </a:cubicBezTo>
                  <a:cubicBezTo>
                    <a:pt x="588722" y="1884922"/>
                    <a:pt x="592039" y="1883264"/>
                    <a:pt x="602245" y="1883774"/>
                  </a:cubicBezTo>
                  <a:cubicBezTo>
                    <a:pt x="618576" y="1893470"/>
                    <a:pt x="576729" y="1898956"/>
                    <a:pt x="624190" y="1913756"/>
                  </a:cubicBezTo>
                  <a:cubicBezTo>
                    <a:pt x="626486" y="1912098"/>
                    <a:pt x="642817" y="1914266"/>
                    <a:pt x="648941" y="1915415"/>
                  </a:cubicBezTo>
                  <a:cubicBezTo>
                    <a:pt x="655703" y="1909291"/>
                    <a:pt x="662465" y="1896532"/>
                    <a:pt x="662465" y="1896532"/>
                  </a:cubicBezTo>
                  <a:lnTo>
                    <a:pt x="665272" y="1896022"/>
                  </a:lnTo>
                  <a:cubicBezTo>
                    <a:pt x="671523" y="1895512"/>
                    <a:pt x="679434" y="1899339"/>
                    <a:pt x="679434" y="1899339"/>
                  </a:cubicBezTo>
                  <a:cubicBezTo>
                    <a:pt x="686961" y="1904953"/>
                    <a:pt x="705333" y="1898574"/>
                    <a:pt x="706481" y="1909418"/>
                  </a:cubicBezTo>
                  <a:cubicBezTo>
                    <a:pt x="710947" y="1908270"/>
                    <a:pt x="715540" y="1912736"/>
                    <a:pt x="715540" y="1912736"/>
                  </a:cubicBezTo>
                  <a:lnTo>
                    <a:pt x="725746" y="1914394"/>
                  </a:lnTo>
                  <a:cubicBezTo>
                    <a:pt x="735698" y="1912736"/>
                    <a:pt x="735953" y="1924218"/>
                    <a:pt x="741567" y="1926132"/>
                  </a:cubicBezTo>
                  <a:lnTo>
                    <a:pt x="743863" y="1926642"/>
                  </a:lnTo>
                  <a:lnTo>
                    <a:pt x="746160" y="1926132"/>
                  </a:lnTo>
                  <a:cubicBezTo>
                    <a:pt x="752284" y="1922942"/>
                    <a:pt x="798087" y="1902784"/>
                    <a:pt x="796300" y="1926642"/>
                  </a:cubicBezTo>
                  <a:cubicBezTo>
                    <a:pt x="811993" y="1928046"/>
                    <a:pt x="783287" y="1945652"/>
                    <a:pt x="783287" y="1945524"/>
                  </a:cubicBezTo>
                  <a:cubicBezTo>
                    <a:pt x="781373" y="1957517"/>
                    <a:pt x="796428" y="1951011"/>
                    <a:pt x="799107" y="1949990"/>
                  </a:cubicBezTo>
                  <a:cubicBezTo>
                    <a:pt x="818245" y="1948331"/>
                    <a:pt x="809824" y="1959431"/>
                    <a:pt x="809824" y="1959431"/>
                  </a:cubicBezTo>
                  <a:cubicBezTo>
                    <a:pt x="837510" y="1982779"/>
                    <a:pt x="831769" y="1988903"/>
                    <a:pt x="831769" y="1990562"/>
                  </a:cubicBezTo>
                  <a:cubicBezTo>
                    <a:pt x="806124" y="2019396"/>
                    <a:pt x="887395" y="2003575"/>
                    <a:pt x="896581" y="2005616"/>
                  </a:cubicBezTo>
                  <a:cubicBezTo>
                    <a:pt x="892626" y="1993879"/>
                    <a:pt x="903471" y="1995537"/>
                    <a:pt x="936642" y="1984438"/>
                  </a:cubicBezTo>
                  <a:cubicBezTo>
                    <a:pt x="966497" y="1974996"/>
                    <a:pt x="940598" y="2006127"/>
                    <a:pt x="940598" y="2006127"/>
                  </a:cubicBezTo>
                  <a:lnTo>
                    <a:pt x="964328" y="2006637"/>
                  </a:lnTo>
                  <a:cubicBezTo>
                    <a:pt x="965476" y="2003320"/>
                    <a:pt x="971600" y="1997706"/>
                    <a:pt x="971600" y="1996558"/>
                  </a:cubicBezTo>
                  <a:cubicBezTo>
                    <a:pt x="970452" y="1982141"/>
                    <a:pt x="981807" y="1985458"/>
                    <a:pt x="981807" y="1983800"/>
                  </a:cubicBezTo>
                  <a:cubicBezTo>
                    <a:pt x="979511" y="1982141"/>
                    <a:pt x="986910" y="1979334"/>
                    <a:pt x="986910" y="1978186"/>
                  </a:cubicBezTo>
                  <a:cubicBezTo>
                    <a:pt x="988059" y="1968107"/>
                    <a:pt x="1006048" y="1975379"/>
                    <a:pt x="1006048" y="1975379"/>
                  </a:cubicBezTo>
                  <a:cubicBezTo>
                    <a:pt x="1004900" y="1975762"/>
                    <a:pt x="1015362" y="1972827"/>
                    <a:pt x="1023017" y="1975379"/>
                  </a:cubicBezTo>
                  <a:cubicBezTo>
                    <a:pt x="1034244" y="1977038"/>
                    <a:pt x="1024165" y="1970914"/>
                    <a:pt x="1024165" y="1970914"/>
                  </a:cubicBezTo>
                  <a:cubicBezTo>
                    <a:pt x="1023782" y="1955604"/>
                    <a:pt x="1020082" y="1964917"/>
                    <a:pt x="1013958" y="1960324"/>
                  </a:cubicBezTo>
                  <a:cubicBezTo>
                    <a:pt x="1006048" y="1955348"/>
                    <a:pt x="1025824" y="1939783"/>
                    <a:pt x="1026334" y="1938635"/>
                  </a:cubicBezTo>
                  <a:cubicBezTo>
                    <a:pt x="1033096" y="1923070"/>
                    <a:pt x="1042154" y="1934680"/>
                    <a:pt x="1042154" y="1935828"/>
                  </a:cubicBezTo>
                  <a:cubicBezTo>
                    <a:pt x="1041899" y="1933914"/>
                    <a:pt x="1102757" y="1938890"/>
                    <a:pt x="1101991" y="1921922"/>
                  </a:cubicBezTo>
                  <a:cubicBezTo>
                    <a:pt x="1101098" y="1913374"/>
                    <a:pt x="1101608" y="1897043"/>
                    <a:pt x="1105436" y="1895257"/>
                  </a:cubicBezTo>
                  <a:cubicBezTo>
                    <a:pt x="1108881" y="1884157"/>
                    <a:pt x="1121256" y="1887984"/>
                    <a:pt x="1120618" y="1886326"/>
                  </a:cubicBezTo>
                  <a:cubicBezTo>
                    <a:pt x="1118322" y="1877395"/>
                    <a:pt x="1130825" y="1883519"/>
                    <a:pt x="1133632" y="1885815"/>
                  </a:cubicBezTo>
                  <a:cubicBezTo>
                    <a:pt x="1136439" y="1886964"/>
                    <a:pt x="1148814" y="1883009"/>
                    <a:pt x="1149963" y="1883009"/>
                  </a:cubicBezTo>
                  <a:cubicBezTo>
                    <a:pt x="1178159" y="1874716"/>
                    <a:pt x="1210310" y="1886964"/>
                    <a:pt x="1210310" y="1886964"/>
                  </a:cubicBezTo>
                  <a:lnTo>
                    <a:pt x="1212606" y="1886453"/>
                  </a:lnTo>
                  <a:lnTo>
                    <a:pt x="1216561" y="1885943"/>
                  </a:lnTo>
                  <a:cubicBezTo>
                    <a:pt x="1213116" y="1865274"/>
                    <a:pt x="1272315" y="1864636"/>
                    <a:pt x="1272443" y="1864254"/>
                  </a:cubicBezTo>
                  <a:cubicBezTo>
                    <a:pt x="1291070" y="1850347"/>
                    <a:pt x="1295025" y="1867061"/>
                    <a:pt x="1295025" y="1867061"/>
                  </a:cubicBezTo>
                  <a:cubicBezTo>
                    <a:pt x="1304084" y="1860426"/>
                    <a:pt x="1322711" y="1867061"/>
                    <a:pt x="1323221" y="1865912"/>
                  </a:cubicBezTo>
                  <a:cubicBezTo>
                    <a:pt x="1332280" y="1864764"/>
                    <a:pt x="1344655" y="1868719"/>
                    <a:pt x="1345804" y="1868719"/>
                  </a:cubicBezTo>
                  <a:cubicBezTo>
                    <a:pt x="1363793" y="1858130"/>
                    <a:pt x="1363283" y="1866550"/>
                    <a:pt x="1364941" y="1868719"/>
                  </a:cubicBezTo>
                  <a:cubicBezTo>
                    <a:pt x="1391861" y="1870888"/>
                    <a:pt x="1357541" y="1818196"/>
                    <a:pt x="1358179" y="1820875"/>
                  </a:cubicBezTo>
                  <a:cubicBezTo>
                    <a:pt x="1358179" y="1820875"/>
                    <a:pt x="1357031" y="1811944"/>
                    <a:pt x="1356521" y="1808627"/>
                  </a:cubicBezTo>
                  <a:lnTo>
                    <a:pt x="1357669" y="1808117"/>
                  </a:lnTo>
                  <a:cubicBezTo>
                    <a:pt x="1374127" y="1817430"/>
                    <a:pt x="1391861" y="1769204"/>
                    <a:pt x="1398879" y="1788597"/>
                  </a:cubicBezTo>
                  <a:cubicBezTo>
                    <a:pt x="1377444" y="1819217"/>
                    <a:pt x="1400027" y="1822023"/>
                    <a:pt x="1400027" y="1822023"/>
                  </a:cubicBezTo>
                  <a:cubicBezTo>
                    <a:pt x="1426564" y="1803651"/>
                    <a:pt x="1444043" y="1816410"/>
                    <a:pt x="1444043" y="1816410"/>
                  </a:cubicBezTo>
                  <a:cubicBezTo>
                    <a:pt x="1444043" y="1816410"/>
                    <a:pt x="1453102" y="1814751"/>
                    <a:pt x="1453102" y="1815900"/>
                  </a:cubicBezTo>
                  <a:cubicBezTo>
                    <a:pt x="1476194" y="1806969"/>
                    <a:pt x="1472239" y="1807606"/>
                    <a:pt x="1477343" y="1816410"/>
                  </a:cubicBezTo>
                  <a:cubicBezTo>
                    <a:pt x="1479639" y="1826361"/>
                    <a:pt x="1508345" y="1852006"/>
                    <a:pt x="1509494" y="1852006"/>
                  </a:cubicBezTo>
                  <a:cubicBezTo>
                    <a:pt x="1514469" y="1844351"/>
                    <a:pt x="1532331" y="1847795"/>
                    <a:pt x="1539348" y="1847540"/>
                  </a:cubicBezTo>
                  <a:cubicBezTo>
                    <a:pt x="1541007" y="1826489"/>
                    <a:pt x="1558231" y="1815517"/>
                    <a:pt x="1570351" y="1823554"/>
                  </a:cubicBezTo>
                  <a:cubicBezTo>
                    <a:pt x="1578772" y="1811307"/>
                    <a:pt x="1598547" y="1819599"/>
                    <a:pt x="1598547" y="1819599"/>
                  </a:cubicBezTo>
                  <a:cubicBezTo>
                    <a:pt x="1611688" y="1816920"/>
                    <a:pt x="1616154" y="1821003"/>
                    <a:pt x="1616536" y="1826872"/>
                  </a:cubicBezTo>
                  <a:cubicBezTo>
                    <a:pt x="1623298" y="1825723"/>
                    <a:pt x="1624447" y="1826872"/>
                    <a:pt x="1624447" y="1828530"/>
                  </a:cubicBezTo>
                  <a:lnTo>
                    <a:pt x="1622150" y="1831337"/>
                  </a:lnTo>
                  <a:cubicBezTo>
                    <a:pt x="1620492" y="1832485"/>
                    <a:pt x="1618705" y="1833506"/>
                    <a:pt x="1618705" y="1833506"/>
                  </a:cubicBezTo>
                  <a:cubicBezTo>
                    <a:pt x="1619216" y="1833123"/>
                    <a:pt x="1620364" y="1838864"/>
                    <a:pt x="1620364" y="1837461"/>
                  </a:cubicBezTo>
                  <a:cubicBezTo>
                    <a:pt x="1622660" y="1848561"/>
                    <a:pt x="1653025" y="1850857"/>
                    <a:pt x="1642308" y="1859150"/>
                  </a:cubicBezTo>
                  <a:cubicBezTo>
                    <a:pt x="1629933" y="1866933"/>
                    <a:pt x="1633250" y="1870250"/>
                    <a:pt x="1630443" y="1881350"/>
                  </a:cubicBezTo>
                  <a:cubicBezTo>
                    <a:pt x="1627636" y="1892450"/>
                    <a:pt x="1645626" y="1901891"/>
                    <a:pt x="1646774" y="1901891"/>
                  </a:cubicBezTo>
                  <a:cubicBezTo>
                    <a:pt x="1664763" y="1896915"/>
                    <a:pt x="1664253" y="1913629"/>
                    <a:pt x="1664253" y="1913629"/>
                  </a:cubicBezTo>
                  <a:cubicBezTo>
                    <a:pt x="1667060" y="1912480"/>
                    <a:pt x="1675480" y="1915798"/>
                    <a:pt x="1678414" y="1923708"/>
                  </a:cubicBezTo>
                  <a:cubicBezTo>
                    <a:pt x="1680711" y="1929832"/>
                    <a:pt x="1713372" y="1944249"/>
                    <a:pt x="1714521" y="1944249"/>
                  </a:cubicBezTo>
                  <a:cubicBezTo>
                    <a:pt x="1721028" y="1937614"/>
                    <a:pt x="1727662" y="1949480"/>
                    <a:pt x="1730851" y="1950373"/>
                  </a:cubicBezTo>
                  <a:cubicBezTo>
                    <a:pt x="1732510" y="1941442"/>
                    <a:pt x="1749989" y="1932001"/>
                    <a:pt x="1749989" y="1932001"/>
                  </a:cubicBezTo>
                  <a:cubicBezTo>
                    <a:pt x="1749989" y="1932001"/>
                    <a:pt x="1747693" y="1915925"/>
                    <a:pt x="1747693" y="1914777"/>
                  </a:cubicBezTo>
                  <a:cubicBezTo>
                    <a:pt x="1732510" y="1909801"/>
                    <a:pt x="1751137" y="1890281"/>
                    <a:pt x="1751137" y="1890281"/>
                  </a:cubicBezTo>
                  <a:cubicBezTo>
                    <a:pt x="1732000" y="1876374"/>
                    <a:pt x="1757389" y="1871398"/>
                    <a:pt x="1757389" y="1870250"/>
                  </a:cubicBezTo>
                  <a:cubicBezTo>
                    <a:pt x="1745013" y="1865785"/>
                    <a:pt x="1770402" y="1846264"/>
                    <a:pt x="1770402" y="1846264"/>
                  </a:cubicBezTo>
                  <a:cubicBezTo>
                    <a:pt x="1757772" y="1818706"/>
                    <a:pt x="1763641" y="1799314"/>
                    <a:pt x="1730341" y="1785662"/>
                  </a:cubicBezTo>
                  <a:cubicBezTo>
                    <a:pt x="1725876" y="1791021"/>
                    <a:pt x="1712224" y="1803013"/>
                    <a:pt x="1689769" y="1793445"/>
                  </a:cubicBezTo>
                  <a:cubicBezTo>
                    <a:pt x="1675097" y="1786172"/>
                    <a:pt x="1690280" y="1774562"/>
                    <a:pt x="1691428" y="1774562"/>
                  </a:cubicBezTo>
                  <a:cubicBezTo>
                    <a:pt x="1693725" y="1774562"/>
                    <a:pt x="1698700" y="1757849"/>
                    <a:pt x="1698700" y="1757849"/>
                  </a:cubicBezTo>
                  <a:cubicBezTo>
                    <a:pt x="1685942" y="1755552"/>
                    <a:pt x="1713117" y="1729653"/>
                    <a:pt x="1711714" y="1727867"/>
                  </a:cubicBezTo>
                  <a:cubicBezTo>
                    <a:pt x="1713500" y="1723529"/>
                    <a:pt x="1721793" y="1709877"/>
                    <a:pt x="1723579" y="1709495"/>
                  </a:cubicBezTo>
                  <a:lnTo>
                    <a:pt x="1723579" y="1704519"/>
                  </a:lnTo>
                  <a:cubicBezTo>
                    <a:pt x="1721283" y="1705667"/>
                    <a:pt x="1690918" y="1644937"/>
                    <a:pt x="1690918" y="1644937"/>
                  </a:cubicBezTo>
                  <a:cubicBezTo>
                    <a:pt x="1686452" y="1656037"/>
                    <a:pt x="1677904" y="1634348"/>
                    <a:pt x="1677904" y="1634348"/>
                  </a:cubicBezTo>
                  <a:cubicBezTo>
                    <a:pt x="1659277" y="1647744"/>
                    <a:pt x="1657618" y="1614317"/>
                    <a:pt x="1659915" y="1614317"/>
                  </a:cubicBezTo>
                  <a:cubicBezTo>
                    <a:pt x="1662211" y="1614317"/>
                    <a:pt x="1652643" y="1599262"/>
                    <a:pt x="1653663" y="1599262"/>
                  </a:cubicBezTo>
                  <a:cubicBezTo>
                    <a:pt x="1642819" y="1590714"/>
                    <a:pt x="1593827" y="1552439"/>
                    <a:pt x="1611305" y="1537512"/>
                  </a:cubicBezTo>
                  <a:cubicBezTo>
                    <a:pt x="1611050" y="1522584"/>
                    <a:pt x="1619981" y="1530750"/>
                    <a:pt x="1624829" y="1532536"/>
                  </a:cubicBezTo>
                  <a:cubicBezTo>
                    <a:pt x="1624829" y="1515440"/>
                    <a:pt x="1634015" y="1515185"/>
                    <a:pt x="1644605" y="1511995"/>
                  </a:cubicBezTo>
                  <a:cubicBezTo>
                    <a:pt x="1662339" y="1480099"/>
                    <a:pt x="1656725" y="1478823"/>
                    <a:pt x="1697042" y="1475251"/>
                  </a:cubicBezTo>
                  <a:cubicBezTo>
                    <a:pt x="1711204" y="1470658"/>
                    <a:pt x="1723834" y="1435317"/>
                    <a:pt x="1740420" y="1438507"/>
                  </a:cubicBezTo>
                  <a:cubicBezTo>
                    <a:pt x="1740037" y="1429193"/>
                    <a:pt x="1766830" y="1427279"/>
                    <a:pt x="1775888" y="1427407"/>
                  </a:cubicBezTo>
                  <a:cubicBezTo>
                    <a:pt x="1780992" y="1415287"/>
                    <a:pt x="1816970" y="1417200"/>
                    <a:pt x="1828836" y="1418476"/>
                  </a:cubicBezTo>
                  <a:cubicBezTo>
                    <a:pt x="1835215" y="1421155"/>
                    <a:pt x="1889566" y="1363615"/>
                    <a:pt x="1894797" y="1364508"/>
                  </a:cubicBezTo>
                  <a:cubicBezTo>
                    <a:pt x="1893521" y="1358767"/>
                    <a:pt x="1898752" y="1335164"/>
                    <a:pt x="1900410" y="1336695"/>
                  </a:cubicBezTo>
                  <a:cubicBezTo>
                    <a:pt x="1907172" y="1331081"/>
                    <a:pt x="1898114" y="1310030"/>
                    <a:pt x="1898114" y="1308882"/>
                  </a:cubicBezTo>
                  <a:cubicBezTo>
                    <a:pt x="1901559" y="1304927"/>
                    <a:pt x="1904876" y="1281068"/>
                    <a:pt x="1908320" y="1278262"/>
                  </a:cubicBezTo>
                  <a:cubicBezTo>
                    <a:pt x="1911765" y="1276093"/>
                    <a:pt x="1909469" y="1272648"/>
                    <a:pt x="1906024" y="1270989"/>
                  </a:cubicBezTo>
                  <a:cubicBezTo>
                    <a:pt x="1902834" y="1264610"/>
                    <a:pt x="1905003" y="1262058"/>
                    <a:pt x="1903217" y="1256572"/>
                  </a:cubicBezTo>
                  <a:cubicBezTo>
                    <a:pt x="1900538" y="1253638"/>
                    <a:pt x="1899262" y="1246493"/>
                    <a:pt x="1899772" y="1245473"/>
                  </a:cubicBezTo>
                  <a:cubicBezTo>
                    <a:pt x="1903727" y="1245983"/>
                    <a:pt x="1912148" y="1248790"/>
                    <a:pt x="1912148" y="1248790"/>
                  </a:cubicBezTo>
                  <a:cubicBezTo>
                    <a:pt x="1911638" y="1248662"/>
                    <a:pt x="1920696" y="1239349"/>
                    <a:pt x="1925162" y="1238838"/>
                  </a:cubicBezTo>
                  <a:cubicBezTo>
                    <a:pt x="1933072" y="1234883"/>
                    <a:pt x="1924651" y="1231056"/>
                    <a:pt x="1924651" y="1229907"/>
                  </a:cubicBezTo>
                  <a:cubicBezTo>
                    <a:pt x="1932561" y="1215490"/>
                    <a:pt x="1953358" y="1243304"/>
                    <a:pt x="1953358" y="1243304"/>
                  </a:cubicBezTo>
                  <a:lnTo>
                    <a:pt x="1958971" y="1243304"/>
                  </a:lnTo>
                  <a:cubicBezTo>
                    <a:pt x="1969178" y="1231566"/>
                    <a:pt x="1983723" y="1248917"/>
                    <a:pt x="1983723" y="1248917"/>
                  </a:cubicBezTo>
                  <a:cubicBezTo>
                    <a:pt x="1996098" y="1245600"/>
                    <a:pt x="1993291" y="1256700"/>
                    <a:pt x="1993291" y="1256700"/>
                  </a:cubicBezTo>
                  <a:cubicBezTo>
                    <a:pt x="1995843" y="1254531"/>
                    <a:pt x="2021870" y="1271627"/>
                    <a:pt x="2023784" y="1271117"/>
                  </a:cubicBezTo>
                  <a:cubicBezTo>
                    <a:pt x="2025442" y="1267162"/>
                    <a:pt x="2030546" y="1262186"/>
                    <a:pt x="2032842" y="1260527"/>
                  </a:cubicBezTo>
                  <a:cubicBezTo>
                    <a:pt x="2031184" y="1258869"/>
                    <a:pt x="2032459" y="1228376"/>
                    <a:pt x="2043559" y="1243814"/>
                  </a:cubicBezTo>
                  <a:cubicBezTo>
                    <a:pt x="2043559" y="1240497"/>
                    <a:pt x="2055425" y="1229397"/>
                    <a:pt x="2057721" y="1229397"/>
                  </a:cubicBezTo>
                  <a:cubicBezTo>
                    <a:pt x="2050321" y="1203625"/>
                    <a:pt x="2077241" y="1208346"/>
                    <a:pt x="2061166" y="1184360"/>
                  </a:cubicBezTo>
                  <a:lnTo>
                    <a:pt x="2061166" y="1184360"/>
                  </a:lnTo>
                  <a:close/>
                </a:path>
              </a:pathLst>
            </a:custGeom>
            <a:solidFill>
              <a:srgbClr val="EDE6E1"/>
            </a:solidFill>
            <a:ln w="12700" cap="rnd">
              <a:solidFill>
                <a:srgbClr val="D9CEC9"/>
              </a:solidFill>
              <a:prstDash val="solid"/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07921"/>
              <a:endParaRPr lang="de-DE" sz="1698">
                <a:solidFill>
                  <a:srgbClr val="3B3B3B"/>
                </a:solidFill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FD84C771-0FDA-7760-DD02-755558D7CE69}"/>
                </a:ext>
              </a:extLst>
            </p:cNvPr>
            <p:cNvSpPr/>
            <p:nvPr/>
          </p:nvSpPr>
          <p:spPr>
            <a:xfrm>
              <a:off x="4182283" y="3623057"/>
              <a:ext cx="1344940" cy="1446111"/>
            </a:xfrm>
            <a:custGeom>
              <a:avLst/>
              <a:gdLst>
                <a:gd name="connsiteX0" fmla="*/ 1296889 w 1296888"/>
                <a:gd name="connsiteY0" fmla="*/ 702859 h 1394444"/>
                <a:gd name="connsiteX1" fmla="*/ 1285024 w 1296888"/>
                <a:gd name="connsiteY1" fmla="*/ 668922 h 1394444"/>
                <a:gd name="connsiteX2" fmla="*/ 1269203 w 1296888"/>
                <a:gd name="connsiteY2" fmla="*/ 670070 h 1394444"/>
                <a:gd name="connsiteX3" fmla="*/ 1266907 w 1296888"/>
                <a:gd name="connsiteY3" fmla="*/ 648381 h 1394444"/>
                <a:gd name="connsiteX4" fmla="*/ 1279283 w 1296888"/>
                <a:gd name="connsiteY4" fmla="*/ 645063 h 1394444"/>
                <a:gd name="connsiteX5" fmla="*/ 1281579 w 1296888"/>
                <a:gd name="connsiteY5" fmla="*/ 616740 h 1394444"/>
                <a:gd name="connsiteX6" fmla="*/ 1270352 w 1296888"/>
                <a:gd name="connsiteY6" fmla="*/ 610106 h 1394444"/>
                <a:gd name="connsiteX7" fmla="*/ 1286682 w 1296888"/>
                <a:gd name="connsiteY7" fmla="*/ 590075 h 1394444"/>
                <a:gd name="connsiteX8" fmla="*/ 1272521 w 1296888"/>
                <a:gd name="connsiteY8" fmla="*/ 563920 h 1394444"/>
                <a:gd name="connsiteX9" fmla="*/ 1284896 w 1296888"/>
                <a:gd name="connsiteY9" fmla="*/ 550524 h 1394444"/>
                <a:gd name="connsiteX10" fmla="*/ 1239221 w 1296888"/>
                <a:gd name="connsiteY10" fmla="*/ 489411 h 1394444"/>
                <a:gd name="connsiteX11" fmla="*/ 1206432 w 1296888"/>
                <a:gd name="connsiteY11" fmla="*/ 484435 h 1394444"/>
                <a:gd name="connsiteX12" fmla="*/ 1180533 w 1296888"/>
                <a:gd name="connsiteY12" fmla="*/ 437230 h 1394444"/>
                <a:gd name="connsiteX13" fmla="*/ 1200308 w 1296888"/>
                <a:gd name="connsiteY13" fmla="*/ 422813 h 1394444"/>
                <a:gd name="connsiteX14" fmla="*/ 1198012 w 1296888"/>
                <a:gd name="connsiteY14" fmla="*/ 412861 h 1394444"/>
                <a:gd name="connsiteX15" fmla="*/ 1151699 w 1296888"/>
                <a:gd name="connsiteY15" fmla="*/ 384537 h 1394444"/>
                <a:gd name="connsiteX16" fmla="*/ 1139323 w 1296888"/>
                <a:gd name="connsiteY16" fmla="*/ 337842 h 1394444"/>
                <a:gd name="connsiteX17" fmla="*/ 1151699 w 1296888"/>
                <a:gd name="connsiteY17" fmla="*/ 331207 h 1394444"/>
                <a:gd name="connsiteX18" fmla="*/ 1148254 w 1296888"/>
                <a:gd name="connsiteY18" fmla="*/ 318959 h 1394444"/>
                <a:gd name="connsiteX19" fmla="*/ 1150550 w 1296888"/>
                <a:gd name="connsiteY19" fmla="*/ 300587 h 1394444"/>
                <a:gd name="connsiteX20" fmla="*/ 1135878 w 1296888"/>
                <a:gd name="connsiteY20" fmla="*/ 290636 h 1394444"/>
                <a:gd name="connsiteX21" fmla="*/ 1142640 w 1296888"/>
                <a:gd name="connsiteY21" fmla="*/ 271243 h 1394444"/>
                <a:gd name="connsiteX22" fmla="*/ 1139196 w 1296888"/>
                <a:gd name="connsiteY22" fmla="*/ 260143 h 1394444"/>
                <a:gd name="connsiteX23" fmla="*/ 1160630 w 1296888"/>
                <a:gd name="connsiteY23" fmla="*/ 254530 h 1394444"/>
                <a:gd name="connsiteX24" fmla="*/ 1144809 w 1296888"/>
                <a:gd name="connsiteY24" fmla="*/ 229523 h 1394444"/>
                <a:gd name="connsiteX25" fmla="*/ 1128479 w 1296888"/>
                <a:gd name="connsiteY25" fmla="*/ 228375 h 1394444"/>
                <a:gd name="connsiteX26" fmla="*/ 1141492 w 1296888"/>
                <a:gd name="connsiteY26" fmla="*/ 208344 h 1394444"/>
                <a:gd name="connsiteX27" fmla="*/ 1138047 w 1296888"/>
                <a:gd name="connsiteY27" fmla="*/ 180021 h 1394444"/>
                <a:gd name="connsiteX28" fmla="*/ 1126182 w 1296888"/>
                <a:gd name="connsiteY28" fmla="*/ 180021 h 1394444"/>
                <a:gd name="connsiteX29" fmla="*/ 1119420 w 1296888"/>
                <a:gd name="connsiteY29" fmla="*/ 157183 h 1394444"/>
                <a:gd name="connsiteX30" fmla="*/ 1103089 w 1296888"/>
                <a:gd name="connsiteY30" fmla="*/ 178872 h 1394444"/>
                <a:gd name="connsiteX31" fmla="*/ 1101941 w 1296888"/>
                <a:gd name="connsiteY31" fmla="*/ 196607 h 1394444"/>
                <a:gd name="connsiteX32" fmla="*/ 1057414 w 1296888"/>
                <a:gd name="connsiteY32" fmla="*/ 196607 h 1394444"/>
                <a:gd name="connsiteX33" fmla="*/ 1056266 w 1296888"/>
                <a:gd name="connsiteY33" fmla="*/ 163818 h 1394444"/>
                <a:gd name="connsiteX34" fmla="*/ 1048356 w 1296888"/>
                <a:gd name="connsiteY34" fmla="*/ 129880 h 1394444"/>
                <a:gd name="connsiteX35" fmla="*/ 1036491 w 1296888"/>
                <a:gd name="connsiteY35" fmla="*/ 140470 h 1394444"/>
                <a:gd name="connsiteX36" fmla="*/ 1027432 w 1296888"/>
                <a:gd name="connsiteY36" fmla="*/ 153866 h 1394444"/>
                <a:gd name="connsiteX37" fmla="*/ 1012250 w 1296888"/>
                <a:gd name="connsiteY37" fmla="*/ 147232 h 1394444"/>
                <a:gd name="connsiteX38" fmla="*/ 1028580 w 1296888"/>
                <a:gd name="connsiteY38" fmla="*/ 123374 h 1394444"/>
                <a:gd name="connsiteX39" fmla="*/ 1040956 w 1296888"/>
                <a:gd name="connsiteY39" fmla="*/ 114443 h 1394444"/>
                <a:gd name="connsiteX40" fmla="*/ 1036491 w 1296888"/>
                <a:gd name="connsiteY40" fmla="*/ 104491 h 1394444"/>
                <a:gd name="connsiteX41" fmla="*/ 1024115 w 1296888"/>
                <a:gd name="connsiteY41" fmla="*/ 88416 h 1394444"/>
                <a:gd name="connsiteX42" fmla="*/ 1025263 w 1296888"/>
                <a:gd name="connsiteY42" fmla="*/ 61113 h 1394444"/>
                <a:gd name="connsiteX43" fmla="*/ 1010081 w 1296888"/>
                <a:gd name="connsiteY43" fmla="*/ 55499 h 1394444"/>
                <a:gd name="connsiteX44" fmla="*/ 1002171 w 1296888"/>
                <a:gd name="connsiteY44" fmla="*/ 45547 h 1394444"/>
                <a:gd name="connsiteX45" fmla="*/ 988647 w 1296888"/>
                <a:gd name="connsiteY45" fmla="*/ 68895 h 1394444"/>
                <a:gd name="connsiteX46" fmla="*/ 971168 w 1296888"/>
                <a:gd name="connsiteY46" fmla="*/ 42230 h 1394444"/>
                <a:gd name="connsiteX47" fmla="*/ 960961 w 1296888"/>
                <a:gd name="connsiteY47" fmla="*/ 45547 h 1394444"/>
                <a:gd name="connsiteX48" fmla="*/ 959813 w 1296888"/>
                <a:gd name="connsiteY48" fmla="*/ 65578 h 1394444"/>
                <a:gd name="connsiteX49" fmla="*/ 943482 w 1296888"/>
                <a:gd name="connsiteY49" fmla="*/ 65578 h 1394444"/>
                <a:gd name="connsiteX50" fmla="*/ 936720 w 1296888"/>
                <a:gd name="connsiteY50" fmla="*/ 32789 h 1394444"/>
                <a:gd name="connsiteX51" fmla="*/ 945779 w 1296888"/>
                <a:gd name="connsiteY51" fmla="*/ 0 h 1394444"/>
                <a:gd name="connsiteX52" fmla="*/ 916945 w 1296888"/>
                <a:gd name="connsiteY52" fmla="*/ 9441 h 1394444"/>
                <a:gd name="connsiteX53" fmla="*/ 915796 w 1296888"/>
                <a:gd name="connsiteY53" fmla="*/ 38913 h 1394444"/>
                <a:gd name="connsiteX54" fmla="*/ 910183 w 1296888"/>
                <a:gd name="connsiteY54" fmla="*/ 23858 h 1394444"/>
                <a:gd name="connsiteX55" fmla="*/ 895000 w 1296888"/>
                <a:gd name="connsiteY55" fmla="*/ 16076 h 1394444"/>
                <a:gd name="connsiteX56" fmla="*/ 881476 w 1296888"/>
                <a:gd name="connsiteY56" fmla="*/ 3828 h 1394444"/>
                <a:gd name="connsiteX57" fmla="*/ 870249 w 1296888"/>
                <a:gd name="connsiteY57" fmla="*/ 14927 h 1394444"/>
                <a:gd name="connsiteX58" fmla="*/ 852770 w 1296888"/>
                <a:gd name="connsiteY58" fmla="*/ 4976 h 1394444"/>
                <a:gd name="connsiteX59" fmla="*/ 838098 w 1296888"/>
                <a:gd name="connsiteY59" fmla="*/ 11610 h 1394444"/>
                <a:gd name="connsiteX60" fmla="*/ 810412 w 1296888"/>
                <a:gd name="connsiteY60" fmla="*/ 17224 h 1394444"/>
                <a:gd name="connsiteX61" fmla="*/ 809264 w 1296888"/>
                <a:gd name="connsiteY61" fmla="*/ 37765 h 1394444"/>
                <a:gd name="connsiteX62" fmla="*/ 827381 w 1296888"/>
                <a:gd name="connsiteY62" fmla="*/ 44399 h 1394444"/>
                <a:gd name="connsiteX63" fmla="*/ 816153 w 1296888"/>
                <a:gd name="connsiteY63" fmla="*/ 54351 h 1394444"/>
                <a:gd name="connsiteX64" fmla="*/ 830826 w 1296888"/>
                <a:gd name="connsiteY64" fmla="*/ 55499 h 1394444"/>
                <a:gd name="connsiteX65" fmla="*/ 844987 w 1296888"/>
                <a:gd name="connsiteY65" fmla="*/ 36617 h 1394444"/>
                <a:gd name="connsiteX66" fmla="*/ 857363 w 1296888"/>
                <a:gd name="connsiteY66" fmla="*/ 55499 h 1394444"/>
                <a:gd name="connsiteX67" fmla="*/ 852897 w 1296888"/>
                <a:gd name="connsiteY67" fmla="*/ 70554 h 1394444"/>
                <a:gd name="connsiteX68" fmla="*/ 850601 w 1296888"/>
                <a:gd name="connsiteY68" fmla="*/ 88288 h 1394444"/>
                <a:gd name="connsiteX69" fmla="*/ 831974 w 1296888"/>
                <a:gd name="connsiteY69" fmla="*/ 97219 h 1394444"/>
                <a:gd name="connsiteX70" fmla="*/ 826360 w 1296888"/>
                <a:gd name="connsiteY70" fmla="*/ 84971 h 1394444"/>
                <a:gd name="connsiteX71" fmla="*/ 793061 w 1296888"/>
                <a:gd name="connsiteY71" fmla="*/ 90584 h 1394444"/>
                <a:gd name="connsiteX72" fmla="*/ 791912 w 1296888"/>
                <a:gd name="connsiteY72" fmla="*/ 116739 h 1394444"/>
                <a:gd name="connsiteX73" fmla="*/ 778389 w 1296888"/>
                <a:gd name="connsiteY73" fmla="*/ 124522 h 1394444"/>
                <a:gd name="connsiteX74" fmla="*/ 774433 w 1296888"/>
                <a:gd name="connsiteY74" fmla="*/ 139577 h 1394444"/>
                <a:gd name="connsiteX75" fmla="*/ 758613 w 1296888"/>
                <a:gd name="connsiteY75" fmla="*/ 139577 h 1394444"/>
                <a:gd name="connsiteX76" fmla="*/ 744451 w 1296888"/>
                <a:gd name="connsiteY76" fmla="*/ 131284 h 1394444"/>
                <a:gd name="connsiteX77" fmla="*/ 717404 w 1296888"/>
                <a:gd name="connsiteY77" fmla="*/ 135749 h 1394444"/>
                <a:gd name="connsiteX78" fmla="*/ 715107 w 1296888"/>
                <a:gd name="connsiteY78" fmla="*/ 131922 h 1394444"/>
                <a:gd name="connsiteX79" fmla="*/ 709493 w 1296888"/>
                <a:gd name="connsiteY79" fmla="*/ 141363 h 1394444"/>
                <a:gd name="connsiteX80" fmla="*/ 723017 w 1296888"/>
                <a:gd name="connsiteY80" fmla="*/ 176321 h 1394444"/>
                <a:gd name="connsiteX81" fmla="*/ 704900 w 1296888"/>
                <a:gd name="connsiteY81" fmla="*/ 170707 h 1394444"/>
                <a:gd name="connsiteX82" fmla="*/ 694183 w 1296888"/>
                <a:gd name="connsiteY82" fmla="*/ 183465 h 1394444"/>
                <a:gd name="connsiteX83" fmla="*/ 666498 w 1296888"/>
                <a:gd name="connsiteY83" fmla="*/ 171855 h 1394444"/>
                <a:gd name="connsiteX84" fmla="*/ 653484 w 1296888"/>
                <a:gd name="connsiteY84" fmla="*/ 174024 h 1394444"/>
                <a:gd name="connsiteX85" fmla="*/ 647232 w 1296888"/>
                <a:gd name="connsiteY85" fmla="*/ 190738 h 1394444"/>
                <a:gd name="connsiteX86" fmla="*/ 648891 w 1296888"/>
                <a:gd name="connsiteY86" fmla="*/ 205793 h 1394444"/>
                <a:gd name="connsiteX87" fmla="*/ 641619 w 1296888"/>
                <a:gd name="connsiteY87" fmla="*/ 216382 h 1394444"/>
                <a:gd name="connsiteX88" fmla="*/ 627457 w 1296888"/>
                <a:gd name="connsiteY88" fmla="*/ 215234 h 1394444"/>
                <a:gd name="connsiteX89" fmla="*/ 607171 w 1296888"/>
                <a:gd name="connsiteY89" fmla="*/ 248023 h 1394444"/>
                <a:gd name="connsiteX90" fmla="*/ 585737 w 1296888"/>
                <a:gd name="connsiteY90" fmla="*/ 230799 h 1394444"/>
                <a:gd name="connsiteX91" fmla="*/ 603216 w 1296888"/>
                <a:gd name="connsiteY91" fmla="*/ 219699 h 1394444"/>
                <a:gd name="connsiteX92" fmla="*/ 604364 w 1296888"/>
                <a:gd name="connsiteY92" fmla="*/ 213065 h 1394444"/>
                <a:gd name="connsiteX93" fmla="*/ 598751 w 1296888"/>
                <a:gd name="connsiteY93" fmla="*/ 197500 h 1394444"/>
                <a:gd name="connsiteX94" fmla="*/ 610616 w 1296888"/>
                <a:gd name="connsiteY94" fmla="*/ 189207 h 1394444"/>
                <a:gd name="connsiteX95" fmla="*/ 625798 w 1296888"/>
                <a:gd name="connsiteY95" fmla="*/ 198648 h 1394444"/>
                <a:gd name="connsiteX96" fmla="*/ 628605 w 1296888"/>
                <a:gd name="connsiteY96" fmla="*/ 175300 h 1394444"/>
                <a:gd name="connsiteX97" fmla="*/ 598751 w 1296888"/>
                <a:gd name="connsiteY97" fmla="*/ 169176 h 1394444"/>
                <a:gd name="connsiteX98" fmla="*/ 595944 w 1296888"/>
                <a:gd name="connsiteY98" fmla="*/ 154121 h 1394444"/>
                <a:gd name="connsiteX99" fmla="*/ 578465 w 1296888"/>
                <a:gd name="connsiteY99" fmla="*/ 169176 h 1394444"/>
                <a:gd name="connsiteX100" fmla="*/ 557031 w 1296888"/>
                <a:gd name="connsiteY100" fmla="*/ 158587 h 1394444"/>
                <a:gd name="connsiteX101" fmla="*/ 551927 w 1296888"/>
                <a:gd name="connsiteY101" fmla="*/ 145828 h 1394444"/>
                <a:gd name="connsiteX102" fmla="*/ 542869 w 1296888"/>
                <a:gd name="connsiteY102" fmla="*/ 125798 h 1394444"/>
                <a:gd name="connsiteX103" fmla="*/ 546314 w 1296888"/>
                <a:gd name="connsiteY103" fmla="*/ 109084 h 1394444"/>
                <a:gd name="connsiteX104" fmla="*/ 537893 w 1296888"/>
                <a:gd name="connsiteY104" fmla="*/ 97346 h 1394444"/>
                <a:gd name="connsiteX105" fmla="*/ 498342 w 1296888"/>
                <a:gd name="connsiteY105" fmla="*/ 110105 h 1394444"/>
                <a:gd name="connsiteX106" fmla="*/ 513014 w 1296888"/>
                <a:gd name="connsiteY106" fmla="*/ 140725 h 1394444"/>
                <a:gd name="connsiteX107" fmla="*/ 507911 w 1296888"/>
                <a:gd name="connsiteY107" fmla="*/ 161266 h 1394444"/>
                <a:gd name="connsiteX108" fmla="*/ 482011 w 1296888"/>
                <a:gd name="connsiteY108" fmla="*/ 157438 h 1394444"/>
                <a:gd name="connsiteX109" fmla="*/ 476908 w 1296888"/>
                <a:gd name="connsiteY109" fmla="*/ 143532 h 1394444"/>
                <a:gd name="connsiteX110" fmla="*/ 467339 w 1296888"/>
                <a:gd name="connsiteY110" fmla="*/ 138556 h 1394444"/>
                <a:gd name="connsiteX111" fmla="*/ 457771 w 1296888"/>
                <a:gd name="connsiteY111" fmla="*/ 114060 h 1394444"/>
                <a:gd name="connsiteX112" fmla="*/ 436336 w 1296888"/>
                <a:gd name="connsiteY112" fmla="*/ 119674 h 1394444"/>
                <a:gd name="connsiteX113" fmla="*/ 439143 w 1296888"/>
                <a:gd name="connsiteY113" fmla="*/ 134091 h 1394444"/>
                <a:gd name="connsiteX114" fmla="*/ 437995 w 1296888"/>
                <a:gd name="connsiteY114" fmla="*/ 150166 h 1394444"/>
                <a:gd name="connsiteX115" fmla="*/ 445905 w 1296888"/>
                <a:gd name="connsiteY115" fmla="*/ 183465 h 1394444"/>
                <a:gd name="connsiteX116" fmla="*/ 441440 w 1296888"/>
                <a:gd name="connsiteY116" fmla="*/ 203496 h 1394444"/>
                <a:gd name="connsiteX117" fmla="*/ 464022 w 1296888"/>
                <a:gd name="connsiteY117" fmla="*/ 210768 h 1394444"/>
                <a:gd name="connsiteX118" fmla="*/ 461726 w 1296888"/>
                <a:gd name="connsiteY118" fmla="*/ 236285 h 1394444"/>
                <a:gd name="connsiteX119" fmla="*/ 447054 w 1296888"/>
                <a:gd name="connsiteY119" fmla="*/ 242409 h 1394444"/>
                <a:gd name="connsiteX120" fmla="*/ 440292 w 1296888"/>
                <a:gd name="connsiteY120" fmla="*/ 256316 h 1394444"/>
                <a:gd name="connsiteX121" fmla="*/ 459429 w 1296888"/>
                <a:gd name="connsiteY121" fmla="*/ 254147 h 1394444"/>
                <a:gd name="connsiteX122" fmla="*/ 457771 w 1296888"/>
                <a:gd name="connsiteY122" fmla="*/ 269202 h 1394444"/>
                <a:gd name="connsiteX123" fmla="*/ 444757 w 1296888"/>
                <a:gd name="connsiteY123" fmla="*/ 281450 h 1394444"/>
                <a:gd name="connsiteX124" fmla="*/ 456622 w 1296888"/>
                <a:gd name="connsiteY124" fmla="*/ 302629 h 1394444"/>
                <a:gd name="connsiteX125" fmla="*/ 442460 w 1296888"/>
                <a:gd name="connsiteY125" fmla="*/ 318704 h 1394444"/>
                <a:gd name="connsiteX126" fmla="*/ 414775 w 1296888"/>
                <a:gd name="connsiteY126" fmla="*/ 343200 h 1394444"/>
                <a:gd name="connsiteX127" fmla="*/ 419240 w 1296888"/>
                <a:gd name="connsiteY127" fmla="*/ 350473 h 1394444"/>
                <a:gd name="connsiteX128" fmla="*/ 405078 w 1296888"/>
                <a:gd name="connsiteY128" fmla="*/ 382113 h 1394444"/>
                <a:gd name="connsiteX129" fmla="*/ 389258 w 1296888"/>
                <a:gd name="connsiteY129" fmla="*/ 430468 h 1394444"/>
                <a:gd name="connsiteX130" fmla="*/ 372927 w 1296888"/>
                <a:gd name="connsiteY130" fmla="*/ 446033 h 1394444"/>
                <a:gd name="connsiteX131" fmla="*/ 367824 w 1296888"/>
                <a:gd name="connsiteY131" fmla="*/ 476015 h 1394444"/>
                <a:gd name="connsiteX132" fmla="*/ 341925 w 1296888"/>
                <a:gd name="connsiteY132" fmla="*/ 506635 h 1394444"/>
                <a:gd name="connsiteX133" fmla="*/ 336821 w 1296888"/>
                <a:gd name="connsiteY133" fmla="*/ 506125 h 1394444"/>
                <a:gd name="connsiteX134" fmla="*/ 336821 w 1296888"/>
                <a:gd name="connsiteY134" fmla="*/ 506635 h 1394444"/>
                <a:gd name="connsiteX135" fmla="*/ 311942 w 1296888"/>
                <a:gd name="connsiteY135" fmla="*/ 523859 h 1394444"/>
                <a:gd name="connsiteX136" fmla="*/ 283746 w 1296888"/>
                <a:gd name="connsiteY136" fmla="*/ 577189 h 1394444"/>
                <a:gd name="connsiteX137" fmla="*/ 276346 w 1296888"/>
                <a:gd name="connsiteY137" fmla="*/ 607809 h 1394444"/>
                <a:gd name="connsiteX138" fmla="*/ 255423 w 1296888"/>
                <a:gd name="connsiteY138" fmla="*/ 610616 h 1394444"/>
                <a:gd name="connsiteX139" fmla="*/ 251468 w 1296888"/>
                <a:gd name="connsiteY139" fmla="*/ 617888 h 1394444"/>
                <a:gd name="connsiteX140" fmla="*/ 221613 w 1296888"/>
                <a:gd name="connsiteY140" fmla="*/ 632305 h 1394444"/>
                <a:gd name="connsiteX141" fmla="*/ 202475 w 1296888"/>
                <a:gd name="connsiteY141" fmla="*/ 672877 h 1394444"/>
                <a:gd name="connsiteX142" fmla="*/ 164073 w 1296888"/>
                <a:gd name="connsiteY142" fmla="*/ 691759 h 1394444"/>
                <a:gd name="connsiteX143" fmla="*/ 159607 w 1296888"/>
                <a:gd name="connsiteY143" fmla="*/ 715107 h 1394444"/>
                <a:gd name="connsiteX144" fmla="*/ 143277 w 1296888"/>
                <a:gd name="connsiteY144" fmla="*/ 729524 h 1394444"/>
                <a:gd name="connsiteX145" fmla="*/ 144935 w 1296888"/>
                <a:gd name="connsiteY145" fmla="*/ 781833 h 1394444"/>
                <a:gd name="connsiteX146" fmla="*/ 107681 w 1296888"/>
                <a:gd name="connsiteY146" fmla="*/ 870249 h 1394444"/>
                <a:gd name="connsiteX147" fmla="*/ 108829 w 1296888"/>
                <a:gd name="connsiteY147" fmla="*/ 873056 h 1394444"/>
                <a:gd name="connsiteX148" fmla="*/ 119546 w 1296888"/>
                <a:gd name="connsiteY148" fmla="*/ 894745 h 1394444"/>
                <a:gd name="connsiteX149" fmla="*/ 119036 w 1296888"/>
                <a:gd name="connsiteY149" fmla="*/ 895893 h 1394444"/>
                <a:gd name="connsiteX150" fmla="*/ 88543 w 1296888"/>
                <a:gd name="connsiteY150" fmla="*/ 919751 h 1394444"/>
                <a:gd name="connsiteX151" fmla="*/ 81271 w 1296888"/>
                <a:gd name="connsiteY151" fmla="*/ 949733 h 1394444"/>
                <a:gd name="connsiteX152" fmla="*/ 44654 w 1296888"/>
                <a:gd name="connsiteY152" fmla="*/ 1010846 h 1394444"/>
                <a:gd name="connsiteX153" fmla="*/ 38403 w 1296888"/>
                <a:gd name="connsiteY153" fmla="*/ 1082038 h 1394444"/>
                <a:gd name="connsiteX154" fmla="*/ 38403 w 1296888"/>
                <a:gd name="connsiteY154" fmla="*/ 1083186 h 1394444"/>
                <a:gd name="connsiteX155" fmla="*/ 50268 w 1296888"/>
                <a:gd name="connsiteY155" fmla="*/ 1122609 h 1394444"/>
                <a:gd name="connsiteX156" fmla="*/ 50268 w 1296888"/>
                <a:gd name="connsiteY156" fmla="*/ 1123120 h 1394444"/>
                <a:gd name="connsiteX157" fmla="*/ 26537 w 1296888"/>
                <a:gd name="connsiteY157" fmla="*/ 1170326 h 1394444"/>
                <a:gd name="connsiteX158" fmla="*/ 25389 w 1296888"/>
                <a:gd name="connsiteY158" fmla="*/ 1201966 h 1394444"/>
                <a:gd name="connsiteX159" fmla="*/ 7272 w 1296888"/>
                <a:gd name="connsiteY159" fmla="*/ 1235266 h 1394444"/>
                <a:gd name="connsiteX160" fmla="*/ 9569 w 1296888"/>
                <a:gd name="connsiteY160" fmla="*/ 1250321 h 1394444"/>
                <a:gd name="connsiteX161" fmla="*/ 14672 w 1296888"/>
                <a:gd name="connsiteY161" fmla="*/ 1268693 h 1394444"/>
                <a:gd name="connsiteX162" fmla="*/ 14672 w 1296888"/>
                <a:gd name="connsiteY162" fmla="*/ 1273158 h 1394444"/>
                <a:gd name="connsiteX163" fmla="*/ 0 w 1296888"/>
                <a:gd name="connsiteY163" fmla="*/ 1310413 h 1394444"/>
                <a:gd name="connsiteX164" fmla="*/ 1148 w 1296888"/>
                <a:gd name="connsiteY164" fmla="*/ 1318195 h 1394444"/>
                <a:gd name="connsiteX165" fmla="*/ 25389 w 1296888"/>
                <a:gd name="connsiteY165" fmla="*/ 1352643 h 1394444"/>
                <a:gd name="connsiteX166" fmla="*/ 28196 w 1296888"/>
                <a:gd name="connsiteY166" fmla="*/ 1358257 h 1394444"/>
                <a:gd name="connsiteX167" fmla="*/ 29855 w 1296888"/>
                <a:gd name="connsiteY167" fmla="*/ 1359405 h 1394444"/>
                <a:gd name="connsiteX168" fmla="*/ 34320 w 1296888"/>
                <a:gd name="connsiteY168" fmla="*/ 1354939 h 1394444"/>
                <a:gd name="connsiteX169" fmla="*/ 43889 w 1296888"/>
                <a:gd name="connsiteY169" fmla="*/ 1352771 h 1394444"/>
                <a:gd name="connsiteX170" fmla="*/ 50140 w 1296888"/>
                <a:gd name="connsiteY170" fmla="*/ 1354429 h 1394444"/>
                <a:gd name="connsiteX171" fmla="*/ 58051 w 1296888"/>
                <a:gd name="connsiteY171" fmla="*/ 1349964 h 1394444"/>
                <a:gd name="connsiteX172" fmla="*/ 59709 w 1296888"/>
                <a:gd name="connsiteY172" fmla="*/ 1352771 h 1394444"/>
                <a:gd name="connsiteX173" fmla="*/ 57413 w 1296888"/>
                <a:gd name="connsiteY173" fmla="*/ 1354939 h 1394444"/>
                <a:gd name="connsiteX174" fmla="*/ 51161 w 1296888"/>
                <a:gd name="connsiteY174" fmla="*/ 1358767 h 1394444"/>
                <a:gd name="connsiteX175" fmla="*/ 51161 w 1296888"/>
                <a:gd name="connsiteY175" fmla="*/ 1362084 h 1394444"/>
                <a:gd name="connsiteX176" fmla="*/ 51671 w 1296888"/>
                <a:gd name="connsiteY176" fmla="*/ 1365401 h 1394444"/>
                <a:gd name="connsiteX177" fmla="*/ 49375 w 1296888"/>
                <a:gd name="connsiteY177" fmla="*/ 1368718 h 1394444"/>
                <a:gd name="connsiteX178" fmla="*/ 48227 w 1296888"/>
                <a:gd name="connsiteY178" fmla="*/ 1372036 h 1394444"/>
                <a:gd name="connsiteX179" fmla="*/ 48227 w 1296888"/>
                <a:gd name="connsiteY179" fmla="*/ 1373184 h 1394444"/>
                <a:gd name="connsiteX180" fmla="*/ 41975 w 1296888"/>
                <a:gd name="connsiteY180" fmla="*/ 1374842 h 1394444"/>
                <a:gd name="connsiteX181" fmla="*/ 36872 w 1296888"/>
                <a:gd name="connsiteY181" fmla="*/ 1376501 h 1394444"/>
                <a:gd name="connsiteX182" fmla="*/ 35213 w 1296888"/>
                <a:gd name="connsiteY182" fmla="*/ 1378160 h 1394444"/>
                <a:gd name="connsiteX183" fmla="*/ 35723 w 1296888"/>
                <a:gd name="connsiteY183" fmla="*/ 1378160 h 1394444"/>
                <a:gd name="connsiteX184" fmla="*/ 35723 w 1296888"/>
                <a:gd name="connsiteY184" fmla="*/ 1381987 h 1394444"/>
                <a:gd name="connsiteX185" fmla="*/ 40189 w 1296888"/>
                <a:gd name="connsiteY185" fmla="*/ 1385815 h 1394444"/>
                <a:gd name="connsiteX186" fmla="*/ 44654 w 1296888"/>
                <a:gd name="connsiteY186" fmla="*/ 1390280 h 1394444"/>
                <a:gd name="connsiteX187" fmla="*/ 46951 w 1296888"/>
                <a:gd name="connsiteY187" fmla="*/ 1391939 h 1394444"/>
                <a:gd name="connsiteX188" fmla="*/ 48609 w 1296888"/>
                <a:gd name="connsiteY188" fmla="*/ 1393597 h 1394444"/>
                <a:gd name="connsiteX189" fmla="*/ 58816 w 1296888"/>
                <a:gd name="connsiteY189" fmla="*/ 1393597 h 1394444"/>
                <a:gd name="connsiteX190" fmla="*/ 62771 w 1296888"/>
                <a:gd name="connsiteY190" fmla="*/ 1393087 h 1394444"/>
                <a:gd name="connsiteX191" fmla="*/ 69533 w 1296888"/>
                <a:gd name="connsiteY191" fmla="*/ 1393087 h 1394444"/>
                <a:gd name="connsiteX192" fmla="*/ 71830 w 1296888"/>
                <a:gd name="connsiteY192" fmla="*/ 1389770 h 1394444"/>
                <a:gd name="connsiteX193" fmla="*/ 83057 w 1296888"/>
                <a:gd name="connsiteY193" fmla="*/ 1388622 h 1394444"/>
                <a:gd name="connsiteX194" fmla="*/ 85864 w 1296888"/>
                <a:gd name="connsiteY194" fmla="*/ 1388111 h 1394444"/>
                <a:gd name="connsiteX195" fmla="*/ 93136 w 1296888"/>
                <a:gd name="connsiteY195" fmla="*/ 1384284 h 1394444"/>
                <a:gd name="connsiteX196" fmla="*/ 99898 w 1296888"/>
                <a:gd name="connsiteY196" fmla="*/ 1382625 h 1394444"/>
                <a:gd name="connsiteX197" fmla="*/ 110615 w 1296888"/>
                <a:gd name="connsiteY197" fmla="*/ 1372674 h 1394444"/>
                <a:gd name="connsiteX198" fmla="*/ 110615 w 1296888"/>
                <a:gd name="connsiteY198" fmla="*/ 1369867 h 1394444"/>
                <a:gd name="connsiteX199" fmla="*/ 112912 w 1296888"/>
                <a:gd name="connsiteY199" fmla="*/ 1364253 h 1394444"/>
                <a:gd name="connsiteX200" fmla="*/ 121970 w 1296888"/>
                <a:gd name="connsiteY200" fmla="*/ 1366422 h 1394444"/>
                <a:gd name="connsiteX201" fmla="*/ 131029 w 1296888"/>
                <a:gd name="connsiteY201" fmla="*/ 1362595 h 1394444"/>
                <a:gd name="connsiteX202" fmla="*/ 142894 w 1296888"/>
                <a:gd name="connsiteY202" fmla="*/ 1360936 h 1394444"/>
                <a:gd name="connsiteX203" fmla="*/ 150294 w 1296888"/>
                <a:gd name="connsiteY203" fmla="*/ 1366550 h 1394444"/>
                <a:gd name="connsiteX204" fmla="*/ 150294 w 1296888"/>
                <a:gd name="connsiteY204" fmla="*/ 1368208 h 1394444"/>
                <a:gd name="connsiteX205" fmla="*/ 153738 w 1296888"/>
                <a:gd name="connsiteY205" fmla="*/ 1372674 h 1394444"/>
                <a:gd name="connsiteX206" fmla="*/ 154887 w 1296888"/>
                <a:gd name="connsiteY206" fmla="*/ 1378287 h 1394444"/>
                <a:gd name="connsiteX207" fmla="*/ 153228 w 1296888"/>
                <a:gd name="connsiteY207" fmla="*/ 1387218 h 1394444"/>
                <a:gd name="connsiteX208" fmla="*/ 156673 w 1296888"/>
                <a:gd name="connsiteY208" fmla="*/ 1388877 h 1394444"/>
                <a:gd name="connsiteX209" fmla="*/ 164583 w 1296888"/>
                <a:gd name="connsiteY209" fmla="*/ 1389387 h 1394444"/>
                <a:gd name="connsiteX210" fmla="*/ 166242 w 1296888"/>
                <a:gd name="connsiteY210" fmla="*/ 1389897 h 1394444"/>
                <a:gd name="connsiteX211" fmla="*/ 171345 w 1296888"/>
                <a:gd name="connsiteY211" fmla="*/ 1387091 h 1394444"/>
                <a:gd name="connsiteX212" fmla="*/ 175810 w 1296888"/>
                <a:gd name="connsiteY212" fmla="*/ 1383773 h 1394444"/>
                <a:gd name="connsiteX213" fmla="*/ 182572 w 1296888"/>
                <a:gd name="connsiteY213" fmla="*/ 1384284 h 1394444"/>
                <a:gd name="connsiteX214" fmla="*/ 197755 w 1296888"/>
                <a:gd name="connsiteY214" fmla="*/ 1387091 h 1394444"/>
                <a:gd name="connsiteX215" fmla="*/ 200562 w 1296888"/>
                <a:gd name="connsiteY215" fmla="*/ 1388239 h 1394444"/>
                <a:gd name="connsiteX216" fmla="*/ 204006 w 1296888"/>
                <a:gd name="connsiteY216" fmla="*/ 1388239 h 1394444"/>
                <a:gd name="connsiteX217" fmla="*/ 213575 w 1296888"/>
                <a:gd name="connsiteY217" fmla="*/ 1387091 h 1394444"/>
                <a:gd name="connsiteX218" fmla="*/ 217020 w 1296888"/>
                <a:gd name="connsiteY218" fmla="*/ 1380966 h 1394444"/>
                <a:gd name="connsiteX219" fmla="*/ 224420 w 1296888"/>
                <a:gd name="connsiteY219" fmla="*/ 1380966 h 1394444"/>
                <a:gd name="connsiteX220" fmla="*/ 228885 w 1296888"/>
                <a:gd name="connsiteY220" fmla="*/ 1382625 h 1394444"/>
                <a:gd name="connsiteX221" fmla="*/ 231182 w 1296888"/>
                <a:gd name="connsiteY221" fmla="*/ 1384284 h 1394444"/>
                <a:gd name="connsiteX222" fmla="*/ 233989 w 1296888"/>
                <a:gd name="connsiteY222" fmla="*/ 1384284 h 1394444"/>
                <a:gd name="connsiteX223" fmla="*/ 239092 w 1296888"/>
                <a:gd name="connsiteY223" fmla="*/ 1380966 h 1394444"/>
                <a:gd name="connsiteX224" fmla="*/ 239092 w 1296888"/>
                <a:gd name="connsiteY224" fmla="*/ 1372674 h 1394444"/>
                <a:gd name="connsiteX225" fmla="*/ 242537 w 1296888"/>
                <a:gd name="connsiteY225" fmla="*/ 1368846 h 1394444"/>
                <a:gd name="connsiteX226" fmla="*/ 254912 w 1296888"/>
                <a:gd name="connsiteY226" fmla="*/ 1368336 h 1394444"/>
                <a:gd name="connsiteX227" fmla="*/ 260526 w 1296888"/>
                <a:gd name="connsiteY227" fmla="*/ 1362722 h 1394444"/>
                <a:gd name="connsiteX228" fmla="*/ 264481 w 1296888"/>
                <a:gd name="connsiteY228" fmla="*/ 1361063 h 1394444"/>
                <a:gd name="connsiteX229" fmla="*/ 268436 w 1296888"/>
                <a:gd name="connsiteY229" fmla="*/ 1361063 h 1394444"/>
                <a:gd name="connsiteX230" fmla="*/ 276346 w 1296888"/>
                <a:gd name="connsiteY230" fmla="*/ 1356088 h 1394444"/>
                <a:gd name="connsiteX231" fmla="*/ 278643 w 1296888"/>
                <a:gd name="connsiteY231" fmla="*/ 1349964 h 1394444"/>
                <a:gd name="connsiteX232" fmla="*/ 282598 w 1296888"/>
                <a:gd name="connsiteY232" fmla="*/ 1346647 h 1394444"/>
                <a:gd name="connsiteX233" fmla="*/ 291019 w 1296888"/>
                <a:gd name="connsiteY233" fmla="*/ 1348305 h 1394444"/>
                <a:gd name="connsiteX234" fmla="*/ 293825 w 1296888"/>
                <a:gd name="connsiteY234" fmla="*/ 1354429 h 1394444"/>
                <a:gd name="connsiteX235" fmla="*/ 298291 w 1296888"/>
                <a:gd name="connsiteY235" fmla="*/ 1354429 h 1394444"/>
                <a:gd name="connsiteX236" fmla="*/ 301736 w 1296888"/>
                <a:gd name="connsiteY236" fmla="*/ 1351622 h 1394444"/>
                <a:gd name="connsiteX237" fmla="*/ 304032 w 1296888"/>
                <a:gd name="connsiteY237" fmla="*/ 1349964 h 1394444"/>
                <a:gd name="connsiteX238" fmla="*/ 311304 w 1296888"/>
                <a:gd name="connsiteY238" fmla="*/ 1352771 h 1394444"/>
                <a:gd name="connsiteX239" fmla="*/ 314749 w 1296888"/>
                <a:gd name="connsiteY239" fmla="*/ 1352771 h 1394444"/>
                <a:gd name="connsiteX240" fmla="*/ 325466 w 1296888"/>
                <a:gd name="connsiteY240" fmla="*/ 1354429 h 1394444"/>
                <a:gd name="connsiteX241" fmla="*/ 325466 w 1296888"/>
                <a:gd name="connsiteY241" fmla="*/ 1358894 h 1394444"/>
                <a:gd name="connsiteX242" fmla="*/ 325466 w 1296888"/>
                <a:gd name="connsiteY242" fmla="*/ 1366677 h 1394444"/>
                <a:gd name="connsiteX243" fmla="*/ 330570 w 1296888"/>
                <a:gd name="connsiteY243" fmla="*/ 1370632 h 1394444"/>
                <a:gd name="connsiteX244" fmla="*/ 332228 w 1296888"/>
                <a:gd name="connsiteY244" fmla="*/ 1373439 h 1394444"/>
                <a:gd name="connsiteX245" fmla="*/ 333376 w 1296888"/>
                <a:gd name="connsiteY245" fmla="*/ 1373439 h 1394444"/>
                <a:gd name="connsiteX246" fmla="*/ 340138 w 1296888"/>
                <a:gd name="connsiteY246" fmla="*/ 1379563 h 1394444"/>
                <a:gd name="connsiteX247" fmla="*/ 354300 w 1296888"/>
                <a:gd name="connsiteY247" fmla="*/ 1381222 h 1394444"/>
                <a:gd name="connsiteX248" fmla="*/ 361700 w 1296888"/>
                <a:gd name="connsiteY248" fmla="*/ 1381222 h 1394444"/>
                <a:gd name="connsiteX249" fmla="*/ 366165 w 1296888"/>
                <a:gd name="connsiteY249" fmla="*/ 1378415 h 1394444"/>
                <a:gd name="connsiteX250" fmla="*/ 368462 w 1296888"/>
                <a:gd name="connsiteY250" fmla="*/ 1374587 h 1394444"/>
                <a:gd name="connsiteX251" fmla="*/ 374076 w 1296888"/>
                <a:gd name="connsiteY251" fmla="*/ 1376756 h 1394444"/>
                <a:gd name="connsiteX252" fmla="*/ 376372 w 1296888"/>
                <a:gd name="connsiteY252" fmla="*/ 1378415 h 1394444"/>
                <a:gd name="connsiteX253" fmla="*/ 379179 w 1296888"/>
                <a:gd name="connsiteY253" fmla="*/ 1380584 h 1394444"/>
                <a:gd name="connsiteX254" fmla="*/ 382624 w 1296888"/>
                <a:gd name="connsiteY254" fmla="*/ 1380584 h 1394444"/>
                <a:gd name="connsiteX255" fmla="*/ 386579 w 1296888"/>
                <a:gd name="connsiteY255" fmla="*/ 1380584 h 1394444"/>
                <a:gd name="connsiteX256" fmla="*/ 394489 w 1296888"/>
                <a:gd name="connsiteY256" fmla="*/ 1378415 h 1394444"/>
                <a:gd name="connsiteX257" fmla="*/ 401761 w 1296888"/>
                <a:gd name="connsiteY257" fmla="*/ 1376756 h 1394444"/>
                <a:gd name="connsiteX258" fmla="*/ 408013 w 1296888"/>
                <a:gd name="connsiteY258" fmla="*/ 1376246 h 1394444"/>
                <a:gd name="connsiteX259" fmla="*/ 410820 w 1296888"/>
                <a:gd name="connsiteY259" fmla="*/ 1370632 h 1394444"/>
                <a:gd name="connsiteX260" fmla="*/ 404058 w 1296888"/>
                <a:gd name="connsiteY260" fmla="*/ 1372801 h 1394444"/>
                <a:gd name="connsiteX261" fmla="*/ 398444 w 1296888"/>
                <a:gd name="connsiteY261" fmla="*/ 1368336 h 1394444"/>
                <a:gd name="connsiteX262" fmla="*/ 396786 w 1296888"/>
                <a:gd name="connsiteY262" fmla="*/ 1362722 h 1394444"/>
                <a:gd name="connsiteX263" fmla="*/ 401889 w 1296888"/>
                <a:gd name="connsiteY263" fmla="*/ 1357746 h 1394444"/>
                <a:gd name="connsiteX264" fmla="*/ 405844 w 1296888"/>
                <a:gd name="connsiteY264" fmla="*/ 1353281 h 1394444"/>
                <a:gd name="connsiteX265" fmla="*/ 412606 w 1296888"/>
                <a:gd name="connsiteY265" fmla="*/ 1351622 h 1394444"/>
                <a:gd name="connsiteX266" fmla="*/ 420006 w 1296888"/>
                <a:gd name="connsiteY266" fmla="*/ 1349964 h 1394444"/>
                <a:gd name="connsiteX267" fmla="*/ 420006 w 1296888"/>
                <a:gd name="connsiteY267" fmla="*/ 1346647 h 1394444"/>
                <a:gd name="connsiteX268" fmla="*/ 427916 w 1296888"/>
                <a:gd name="connsiteY268" fmla="*/ 1346136 h 1394444"/>
                <a:gd name="connsiteX269" fmla="*/ 432381 w 1296888"/>
                <a:gd name="connsiteY269" fmla="*/ 1342309 h 1394444"/>
                <a:gd name="connsiteX270" fmla="*/ 432892 w 1296888"/>
                <a:gd name="connsiteY270" fmla="*/ 1343457 h 1394444"/>
                <a:gd name="connsiteX271" fmla="*/ 436336 w 1296888"/>
                <a:gd name="connsiteY271" fmla="*/ 1345626 h 1394444"/>
                <a:gd name="connsiteX272" fmla="*/ 442588 w 1296888"/>
                <a:gd name="connsiteY272" fmla="*/ 1347284 h 1394444"/>
                <a:gd name="connsiteX273" fmla="*/ 445395 w 1296888"/>
                <a:gd name="connsiteY273" fmla="*/ 1352898 h 1394444"/>
                <a:gd name="connsiteX274" fmla="*/ 444247 w 1296888"/>
                <a:gd name="connsiteY274" fmla="*/ 1359022 h 1394444"/>
                <a:gd name="connsiteX275" fmla="*/ 442588 w 1296888"/>
                <a:gd name="connsiteY275" fmla="*/ 1362850 h 1394444"/>
                <a:gd name="connsiteX276" fmla="*/ 447054 w 1296888"/>
                <a:gd name="connsiteY276" fmla="*/ 1364508 h 1394444"/>
                <a:gd name="connsiteX277" fmla="*/ 452157 w 1296888"/>
                <a:gd name="connsiteY277" fmla="*/ 1364508 h 1394444"/>
                <a:gd name="connsiteX278" fmla="*/ 453305 w 1296888"/>
                <a:gd name="connsiteY278" fmla="*/ 1366167 h 1394444"/>
                <a:gd name="connsiteX279" fmla="*/ 453305 w 1296888"/>
                <a:gd name="connsiteY279" fmla="*/ 1366677 h 1394444"/>
                <a:gd name="connsiteX280" fmla="*/ 456750 w 1296888"/>
                <a:gd name="connsiteY280" fmla="*/ 1367825 h 1394444"/>
                <a:gd name="connsiteX281" fmla="*/ 456750 w 1296888"/>
                <a:gd name="connsiteY281" fmla="*/ 1364508 h 1394444"/>
                <a:gd name="connsiteX282" fmla="*/ 458408 w 1296888"/>
                <a:gd name="connsiteY282" fmla="*/ 1361191 h 1394444"/>
                <a:gd name="connsiteX283" fmla="*/ 460705 w 1296888"/>
                <a:gd name="connsiteY283" fmla="*/ 1356726 h 1394444"/>
                <a:gd name="connsiteX284" fmla="*/ 461215 w 1296888"/>
                <a:gd name="connsiteY284" fmla="*/ 1351112 h 1394444"/>
                <a:gd name="connsiteX285" fmla="*/ 458919 w 1296888"/>
                <a:gd name="connsiteY285" fmla="*/ 1347284 h 1394444"/>
                <a:gd name="connsiteX286" fmla="*/ 461215 w 1296888"/>
                <a:gd name="connsiteY286" fmla="*/ 1337843 h 1394444"/>
                <a:gd name="connsiteX287" fmla="*/ 465170 w 1296888"/>
                <a:gd name="connsiteY287" fmla="*/ 1336695 h 1394444"/>
                <a:gd name="connsiteX288" fmla="*/ 464022 w 1296888"/>
                <a:gd name="connsiteY288" fmla="*/ 1340012 h 1394444"/>
                <a:gd name="connsiteX289" fmla="*/ 470274 w 1296888"/>
                <a:gd name="connsiteY289" fmla="*/ 1340012 h 1394444"/>
                <a:gd name="connsiteX290" fmla="*/ 471932 w 1296888"/>
                <a:gd name="connsiteY290" fmla="*/ 1336695 h 1394444"/>
                <a:gd name="connsiteX291" fmla="*/ 473081 w 1296888"/>
                <a:gd name="connsiteY291" fmla="*/ 1335036 h 1394444"/>
                <a:gd name="connsiteX292" fmla="*/ 471422 w 1296888"/>
                <a:gd name="connsiteY292" fmla="*/ 1328402 h 1394444"/>
                <a:gd name="connsiteX293" fmla="*/ 466957 w 1296888"/>
                <a:gd name="connsiteY293" fmla="*/ 1324447 h 1394444"/>
                <a:gd name="connsiteX294" fmla="*/ 463512 w 1296888"/>
                <a:gd name="connsiteY294" fmla="*/ 1319981 h 1394444"/>
                <a:gd name="connsiteX295" fmla="*/ 463512 w 1296888"/>
                <a:gd name="connsiteY295" fmla="*/ 1315516 h 1394444"/>
                <a:gd name="connsiteX296" fmla="*/ 458408 w 1296888"/>
                <a:gd name="connsiteY296" fmla="*/ 1318323 h 1394444"/>
                <a:gd name="connsiteX297" fmla="*/ 453943 w 1296888"/>
                <a:gd name="connsiteY297" fmla="*/ 1321130 h 1394444"/>
                <a:gd name="connsiteX298" fmla="*/ 446543 w 1296888"/>
                <a:gd name="connsiteY298" fmla="*/ 1319981 h 1394444"/>
                <a:gd name="connsiteX299" fmla="*/ 439781 w 1296888"/>
                <a:gd name="connsiteY299" fmla="*/ 1319471 h 1394444"/>
                <a:gd name="connsiteX300" fmla="*/ 433019 w 1296888"/>
                <a:gd name="connsiteY300" fmla="*/ 1319981 h 1394444"/>
                <a:gd name="connsiteX301" fmla="*/ 431361 w 1296888"/>
                <a:gd name="connsiteY301" fmla="*/ 1322788 h 1394444"/>
                <a:gd name="connsiteX302" fmla="*/ 429064 w 1296888"/>
                <a:gd name="connsiteY302" fmla="*/ 1329423 h 1394444"/>
                <a:gd name="connsiteX303" fmla="*/ 429064 w 1296888"/>
                <a:gd name="connsiteY303" fmla="*/ 1332230 h 1394444"/>
                <a:gd name="connsiteX304" fmla="*/ 425109 w 1296888"/>
                <a:gd name="connsiteY304" fmla="*/ 1332230 h 1394444"/>
                <a:gd name="connsiteX305" fmla="*/ 411585 w 1296888"/>
                <a:gd name="connsiteY305" fmla="*/ 1332230 h 1394444"/>
                <a:gd name="connsiteX306" fmla="*/ 405334 w 1296888"/>
                <a:gd name="connsiteY306" fmla="*/ 1331081 h 1394444"/>
                <a:gd name="connsiteX307" fmla="*/ 403037 w 1296888"/>
                <a:gd name="connsiteY307" fmla="*/ 1333888 h 1394444"/>
                <a:gd name="connsiteX308" fmla="*/ 400230 w 1296888"/>
                <a:gd name="connsiteY308" fmla="*/ 1333378 h 1394444"/>
                <a:gd name="connsiteX309" fmla="*/ 403037 w 1296888"/>
                <a:gd name="connsiteY309" fmla="*/ 1329550 h 1394444"/>
                <a:gd name="connsiteX310" fmla="*/ 399082 w 1296888"/>
                <a:gd name="connsiteY310" fmla="*/ 1327892 h 1394444"/>
                <a:gd name="connsiteX311" fmla="*/ 395637 w 1296888"/>
                <a:gd name="connsiteY311" fmla="*/ 1327892 h 1394444"/>
                <a:gd name="connsiteX312" fmla="*/ 392193 w 1296888"/>
                <a:gd name="connsiteY312" fmla="*/ 1327892 h 1394444"/>
                <a:gd name="connsiteX313" fmla="*/ 392193 w 1296888"/>
                <a:gd name="connsiteY313" fmla="*/ 1328402 h 1394444"/>
                <a:gd name="connsiteX314" fmla="*/ 388748 w 1296888"/>
                <a:gd name="connsiteY314" fmla="*/ 1326233 h 1394444"/>
                <a:gd name="connsiteX315" fmla="*/ 384793 w 1296888"/>
                <a:gd name="connsiteY315" fmla="*/ 1319599 h 1394444"/>
                <a:gd name="connsiteX316" fmla="*/ 376882 w 1296888"/>
                <a:gd name="connsiteY316" fmla="*/ 1316792 h 1394444"/>
                <a:gd name="connsiteX317" fmla="*/ 379179 w 1296888"/>
                <a:gd name="connsiteY317" fmla="*/ 1310668 h 1394444"/>
                <a:gd name="connsiteX318" fmla="*/ 376882 w 1296888"/>
                <a:gd name="connsiteY318" fmla="*/ 1302885 h 1394444"/>
                <a:gd name="connsiteX319" fmla="*/ 376882 w 1296888"/>
                <a:gd name="connsiteY319" fmla="*/ 1295613 h 1394444"/>
                <a:gd name="connsiteX320" fmla="*/ 382496 w 1296888"/>
                <a:gd name="connsiteY320" fmla="*/ 1290637 h 1394444"/>
                <a:gd name="connsiteX321" fmla="*/ 387600 w 1296888"/>
                <a:gd name="connsiteY321" fmla="*/ 1287320 h 1394444"/>
                <a:gd name="connsiteX322" fmla="*/ 392065 w 1296888"/>
                <a:gd name="connsiteY322" fmla="*/ 1285662 h 1394444"/>
                <a:gd name="connsiteX323" fmla="*/ 397168 w 1296888"/>
                <a:gd name="connsiteY323" fmla="*/ 1282855 h 1394444"/>
                <a:gd name="connsiteX324" fmla="*/ 396658 w 1296888"/>
                <a:gd name="connsiteY324" fmla="*/ 1276220 h 1394444"/>
                <a:gd name="connsiteX325" fmla="*/ 398317 w 1296888"/>
                <a:gd name="connsiteY325" fmla="*/ 1270607 h 1394444"/>
                <a:gd name="connsiteX326" fmla="*/ 402782 w 1296888"/>
                <a:gd name="connsiteY326" fmla="*/ 1264483 h 1394444"/>
                <a:gd name="connsiteX327" fmla="*/ 403292 w 1296888"/>
                <a:gd name="connsiteY327" fmla="*/ 1258358 h 1394444"/>
                <a:gd name="connsiteX328" fmla="*/ 410565 w 1296888"/>
                <a:gd name="connsiteY328" fmla="*/ 1252234 h 1394444"/>
                <a:gd name="connsiteX329" fmla="*/ 414009 w 1296888"/>
                <a:gd name="connsiteY329" fmla="*/ 1251724 h 1394444"/>
                <a:gd name="connsiteX330" fmla="*/ 416816 w 1296888"/>
                <a:gd name="connsiteY330" fmla="*/ 1252234 h 1394444"/>
                <a:gd name="connsiteX331" fmla="*/ 418475 w 1296888"/>
                <a:gd name="connsiteY331" fmla="*/ 1250066 h 1394444"/>
                <a:gd name="connsiteX332" fmla="*/ 424726 w 1296888"/>
                <a:gd name="connsiteY332" fmla="*/ 1250576 h 1394444"/>
                <a:gd name="connsiteX333" fmla="*/ 427023 w 1296888"/>
                <a:gd name="connsiteY333" fmla="*/ 1252234 h 1394444"/>
                <a:gd name="connsiteX334" fmla="*/ 431488 w 1296888"/>
                <a:gd name="connsiteY334" fmla="*/ 1248917 h 1394444"/>
                <a:gd name="connsiteX335" fmla="*/ 436592 w 1296888"/>
                <a:gd name="connsiteY335" fmla="*/ 1246110 h 1394444"/>
                <a:gd name="connsiteX336" fmla="*/ 442843 w 1296888"/>
                <a:gd name="connsiteY336" fmla="*/ 1244452 h 1394444"/>
                <a:gd name="connsiteX337" fmla="*/ 446288 w 1296888"/>
                <a:gd name="connsiteY337" fmla="*/ 1248279 h 1394444"/>
                <a:gd name="connsiteX338" fmla="*/ 450243 w 1296888"/>
                <a:gd name="connsiteY338" fmla="*/ 1246110 h 1394444"/>
                <a:gd name="connsiteX339" fmla="*/ 450243 w 1296888"/>
                <a:gd name="connsiteY339" fmla="*/ 1240497 h 1394444"/>
                <a:gd name="connsiteX340" fmla="*/ 445778 w 1296888"/>
                <a:gd name="connsiteY340" fmla="*/ 1234373 h 1394444"/>
                <a:gd name="connsiteX341" fmla="*/ 448585 w 1296888"/>
                <a:gd name="connsiteY341" fmla="*/ 1231056 h 1394444"/>
                <a:gd name="connsiteX342" fmla="*/ 452029 w 1296888"/>
                <a:gd name="connsiteY342" fmla="*/ 1233225 h 1394444"/>
                <a:gd name="connsiteX343" fmla="*/ 454836 w 1296888"/>
                <a:gd name="connsiteY343" fmla="*/ 1233225 h 1394444"/>
                <a:gd name="connsiteX344" fmla="*/ 457133 w 1296888"/>
                <a:gd name="connsiteY344" fmla="*/ 1233225 h 1394444"/>
                <a:gd name="connsiteX345" fmla="*/ 459940 w 1296888"/>
                <a:gd name="connsiteY345" fmla="*/ 1234373 h 1394444"/>
                <a:gd name="connsiteX346" fmla="*/ 464405 w 1296888"/>
                <a:gd name="connsiteY346" fmla="*/ 1233225 h 1394444"/>
                <a:gd name="connsiteX347" fmla="*/ 470657 w 1296888"/>
                <a:gd name="connsiteY347" fmla="*/ 1236031 h 1394444"/>
                <a:gd name="connsiteX348" fmla="*/ 470657 w 1296888"/>
                <a:gd name="connsiteY348" fmla="*/ 1239349 h 1394444"/>
                <a:gd name="connsiteX349" fmla="*/ 469508 w 1296888"/>
                <a:gd name="connsiteY349" fmla="*/ 1244324 h 1394444"/>
                <a:gd name="connsiteX350" fmla="*/ 469508 w 1296888"/>
                <a:gd name="connsiteY350" fmla="*/ 1248790 h 1394444"/>
                <a:gd name="connsiteX351" fmla="*/ 471167 w 1296888"/>
                <a:gd name="connsiteY351" fmla="*/ 1252107 h 1394444"/>
                <a:gd name="connsiteX352" fmla="*/ 470657 w 1296888"/>
                <a:gd name="connsiteY352" fmla="*/ 1256572 h 1394444"/>
                <a:gd name="connsiteX353" fmla="*/ 474101 w 1296888"/>
                <a:gd name="connsiteY353" fmla="*/ 1260528 h 1394444"/>
                <a:gd name="connsiteX354" fmla="*/ 477546 w 1296888"/>
                <a:gd name="connsiteY354" fmla="*/ 1260528 h 1394444"/>
                <a:gd name="connsiteX355" fmla="*/ 480353 w 1296888"/>
                <a:gd name="connsiteY355" fmla="*/ 1256572 h 1394444"/>
                <a:gd name="connsiteX356" fmla="*/ 483798 w 1296888"/>
                <a:gd name="connsiteY356" fmla="*/ 1256572 h 1394444"/>
                <a:gd name="connsiteX357" fmla="*/ 484308 w 1296888"/>
                <a:gd name="connsiteY357" fmla="*/ 1256572 h 1394444"/>
                <a:gd name="connsiteX358" fmla="*/ 483798 w 1296888"/>
                <a:gd name="connsiteY358" fmla="*/ 1253255 h 1394444"/>
                <a:gd name="connsiteX359" fmla="*/ 483798 w 1296888"/>
                <a:gd name="connsiteY359" fmla="*/ 1250448 h 1394444"/>
                <a:gd name="connsiteX360" fmla="*/ 483798 w 1296888"/>
                <a:gd name="connsiteY360" fmla="*/ 1242666 h 1394444"/>
                <a:gd name="connsiteX361" fmla="*/ 483798 w 1296888"/>
                <a:gd name="connsiteY361" fmla="*/ 1240497 h 1394444"/>
                <a:gd name="connsiteX362" fmla="*/ 483798 w 1296888"/>
                <a:gd name="connsiteY362" fmla="*/ 1236031 h 1394444"/>
                <a:gd name="connsiteX363" fmla="*/ 488263 w 1296888"/>
                <a:gd name="connsiteY363" fmla="*/ 1236031 h 1394444"/>
                <a:gd name="connsiteX364" fmla="*/ 489922 w 1296888"/>
                <a:gd name="connsiteY364" fmla="*/ 1239349 h 1394444"/>
                <a:gd name="connsiteX365" fmla="*/ 490432 w 1296888"/>
                <a:gd name="connsiteY365" fmla="*/ 1242155 h 1394444"/>
                <a:gd name="connsiteX366" fmla="*/ 494387 w 1296888"/>
                <a:gd name="connsiteY366" fmla="*/ 1243814 h 1394444"/>
                <a:gd name="connsiteX367" fmla="*/ 497832 w 1296888"/>
                <a:gd name="connsiteY367" fmla="*/ 1249938 h 1394444"/>
                <a:gd name="connsiteX368" fmla="*/ 500639 w 1296888"/>
                <a:gd name="connsiteY368" fmla="*/ 1252107 h 1394444"/>
                <a:gd name="connsiteX369" fmla="*/ 500639 w 1296888"/>
                <a:gd name="connsiteY369" fmla="*/ 1255935 h 1394444"/>
                <a:gd name="connsiteX370" fmla="*/ 500639 w 1296888"/>
                <a:gd name="connsiteY370" fmla="*/ 1262569 h 1394444"/>
                <a:gd name="connsiteX371" fmla="*/ 504594 w 1296888"/>
                <a:gd name="connsiteY371" fmla="*/ 1263717 h 1394444"/>
                <a:gd name="connsiteX372" fmla="*/ 508039 w 1296888"/>
                <a:gd name="connsiteY372" fmla="*/ 1259252 h 1394444"/>
                <a:gd name="connsiteX373" fmla="*/ 518245 w 1296888"/>
                <a:gd name="connsiteY373" fmla="*/ 1259252 h 1394444"/>
                <a:gd name="connsiteX374" fmla="*/ 520542 w 1296888"/>
                <a:gd name="connsiteY374" fmla="*/ 1264227 h 1394444"/>
                <a:gd name="connsiteX375" fmla="*/ 522838 w 1296888"/>
                <a:gd name="connsiteY375" fmla="*/ 1265376 h 1394444"/>
                <a:gd name="connsiteX376" fmla="*/ 523349 w 1296888"/>
                <a:gd name="connsiteY376" fmla="*/ 1270351 h 1394444"/>
                <a:gd name="connsiteX377" fmla="*/ 518245 w 1296888"/>
                <a:gd name="connsiteY377" fmla="*/ 1270351 h 1394444"/>
                <a:gd name="connsiteX378" fmla="*/ 515438 w 1296888"/>
                <a:gd name="connsiteY378" fmla="*/ 1272010 h 1394444"/>
                <a:gd name="connsiteX379" fmla="*/ 514928 w 1296888"/>
                <a:gd name="connsiteY379" fmla="*/ 1272010 h 1394444"/>
                <a:gd name="connsiteX380" fmla="*/ 514928 w 1296888"/>
                <a:gd name="connsiteY380" fmla="*/ 1273669 h 1394444"/>
                <a:gd name="connsiteX381" fmla="*/ 513780 w 1296888"/>
                <a:gd name="connsiteY381" fmla="*/ 1277496 h 1394444"/>
                <a:gd name="connsiteX382" fmla="*/ 510335 w 1296888"/>
                <a:gd name="connsiteY382" fmla="*/ 1279665 h 1394444"/>
                <a:gd name="connsiteX383" fmla="*/ 507528 w 1296888"/>
                <a:gd name="connsiteY383" fmla="*/ 1282472 h 1394444"/>
                <a:gd name="connsiteX384" fmla="*/ 505870 w 1296888"/>
                <a:gd name="connsiteY384" fmla="*/ 1288596 h 1394444"/>
                <a:gd name="connsiteX385" fmla="*/ 501404 w 1296888"/>
                <a:gd name="connsiteY385" fmla="*/ 1291913 h 1394444"/>
                <a:gd name="connsiteX386" fmla="*/ 496301 w 1296888"/>
                <a:gd name="connsiteY386" fmla="*/ 1293572 h 1394444"/>
                <a:gd name="connsiteX387" fmla="*/ 494642 w 1296888"/>
                <a:gd name="connsiteY387" fmla="*/ 1295741 h 1394444"/>
                <a:gd name="connsiteX388" fmla="*/ 494642 w 1296888"/>
                <a:gd name="connsiteY388" fmla="*/ 1302375 h 1394444"/>
                <a:gd name="connsiteX389" fmla="*/ 488391 w 1296888"/>
                <a:gd name="connsiteY389" fmla="*/ 1304033 h 1394444"/>
                <a:gd name="connsiteX390" fmla="*/ 487242 w 1296888"/>
                <a:gd name="connsiteY390" fmla="*/ 1305182 h 1394444"/>
                <a:gd name="connsiteX391" fmla="*/ 488391 w 1296888"/>
                <a:gd name="connsiteY391" fmla="*/ 1306840 h 1394444"/>
                <a:gd name="connsiteX392" fmla="*/ 491835 w 1296888"/>
                <a:gd name="connsiteY392" fmla="*/ 1308499 h 1394444"/>
                <a:gd name="connsiteX393" fmla="*/ 495280 w 1296888"/>
                <a:gd name="connsiteY393" fmla="*/ 1307989 h 1394444"/>
                <a:gd name="connsiteX394" fmla="*/ 496939 w 1296888"/>
                <a:gd name="connsiteY394" fmla="*/ 1306840 h 1394444"/>
                <a:gd name="connsiteX395" fmla="*/ 498087 w 1296888"/>
                <a:gd name="connsiteY395" fmla="*/ 1305692 h 1394444"/>
                <a:gd name="connsiteX396" fmla="*/ 500384 w 1296888"/>
                <a:gd name="connsiteY396" fmla="*/ 1305182 h 1394444"/>
                <a:gd name="connsiteX397" fmla="*/ 503190 w 1296888"/>
                <a:gd name="connsiteY397" fmla="*/ 1304033 h 1394444"/>
                <a:gd name="connsiteX398" fmla="*/ 504339 w 1296888"/>
                <a:gd name="connsiteY398" fmla="*/ 1304033 h 1394444"/>
                <a:gd name="connsiteX399" fmla="*/ 505487 w 1296888"/>
                <a:gd name="connsiteY399" fmla="*/ 1304544 h 1394444"/>
                <a:gd name="connsiteX400" fmla="*/ 505997 w 1296888"/>
                <a:gd name="connsiteY400" fmla="*/ 1304544 h 1394444"/>
                <a:gd name="connsiteX401" fmla="*/ 506508 w 1296888"/>
                <a:gd name="connsiteY401" fmla="*/ 1305054 h 1394444"/>
                <a:gd name="connsiteX402" fmla="*/ 508804 w 1296888"/>
                <a:gd name="connsiteY402" fmla="*/ 1306202 h 1394444"/>
                <a:gd name="connsiteX403" fmla="*/ 512759 w 1296888"/>
                <a:gd name="connsiteY403" fmla="*/ 1305054 h 1394444"/>
                <a:gd name="connsiteX404" fmla="*/ 517225 w 1296888"/>
                <a:gd name="connsiteY404" fmla="*/ 1303906 h 1394444"/>
                <a:gd name="connsiteX405" fmla="*/ 519521 w 1296888"/>
                <a:gd name="connsiteY405" fmla="*/ 1305565 h 1394444"/>
                <a:gd name="connsiteX406" fmla="*/ 522328 w 1296888"/>
                <a:gd name="connsiteY406" fmla="*/ 1305565 h 1394444"/>
                <a:gd name="connsiteX407" fmla="*/ 522838 w 1296888"/>
                <a:gd name="connsiteY407" fmla="*/ 1306075 h 1394444"/>
                <a:gd name="connsiteX408" fmla="*/ 525135 w 1296888"/>
                <a:gd name="connsiteY408" fmla="*/ 1306075 h 1394444"/>
                <a:gd name="connsiteX409" fmla="*/ 526283 w 1296888"/>
                <a:gd name="connsiteY409" fmla="*/ 1306585 h 1394444"/>
                <a:gd name="connsiteX410" fmla="*/ 527942 w 1296888"/>
                <a:gd name="connsiteY410" fmla="*/ 1306585 h 1394444"/>
                <a:gd name="connsiteX411" fmla="*/ 531897 w 1296888"/>
                <a:gd name="connsiteY411" fmla="*/ 1308244 h 1394444"/>
                <a:gd name="connsiteX412" fmla="*/ 533045 w 1296888"/>
                <a:gd name="connsiteY412" fmla="*/ 1308244 h 1394444"/>
                <a:gd name="connsiteX413" fmla="*/ 534704 w 1296888"/>
                <a:gd name="connsiteY413" fmla="*/ 1311051 h 1394444"/>
                <a:gd name="connsiteX414" fmla="*/ 537510 w 1296888"/>
                <a:gd name="connsiteY414" fmla="*/ 1312709 h 1394444"/>
                <a:gd name="connsiteX415" fmla="*/ 541466 w 1296888"/>
                <a:gd name="connsiteY415" fmla="*/ 1314878 h 1394444"/>
                <a:gd name="connsiteX416" fmla="*/ 546569 w 1296888"/>
                <a:gd name="connsiteY416" fmla="*/ 1314878 h 1394444"/>
                <a:gd name="connsiteX417" fmla="*/ 546569 w 1296888"/>
                <a:gd name="connsiteY417" fmla="*/ 1314368 h 1394444"/>
                <a:gd name="connsiteX418" fmla="*/ 547079 w 1296888"/>
                <a:gd name="connsiteY418" fmla="*/ 1314368 h 1394444"/>
                <a:gd name="connsiteX419" fmla="*/ 548738 w 1296888"/>
                <a:gd name="connsiteY419" fmla="*/ 1309902 h 1394444"/>
                <a:gd name="connsiteX420" fmla="*/ 549886 w 1296888"/>
                <a:gd name="connsiteY420" fmla="*/ 1305437 h 1394444"/>
                <a:gd name="connsiteX421" fmla="*/ 548738 w 1296888"/>
                <a:gd name="connsiteY421" fmla="*/ 1302120 h 1394444"/>
                <a:gd name="connsiteX422" fmla="*/ 547079 w 1296888"/>
                <a:gd name="connsiteY422" fmla="*/ 1297654 h 1394444"/>
                <a:gd name="connsiteX423" fmla="*/ 536873 w 1296888"/>
                <a:gd name="connsiteY423" fmla="*/ 1294847 h 1394444"/>
                <a:gd name="connsiteX424" fmla="*/ 536873 w 1296888"/>
                <a:gd name="connsiteY424" fmla="*/ 1288213 h 1394444"/>
                <a:gd name="connsiteX425" fmla="*/ 541976 w 1296888"/>
                <a:gd name="connsiteY425" fmla="*/ 1284896 h 1394444"/>
                <a:gd name="connsiteX426" fmla="*/ 548227 w 1296888"/>
                <a:gd name="connsiteY426" fmla="*/ 1283237 h 1394444"/>
                <a:gd name="connsiteX427" fmla="*/ 551034 w 1296888"/>
                <a:gd name="connsiteY427" fmla="*/ 1275455 h 1394444"/>
                <a:gd name="connsiteX428" fmla="*/ 554479 w 1296888"/>
                <a:gd name="connsiteY428" fmla="*/ 1284386 h 1394444"/>
                <a:gd name="connsiteX429" fmla="*/ 557924 w 1296888"/>
                <a:gd name="connsiteY429" fmla="*/ 1288851 h 1394444"/>
                <a:gd name="connsiteX430" fmla="*/ 563538 w 1296888"/>
                <a:gd name="connsiteY430" fmla="*/ 1292168 h 1394444"/>
                <a:gd name="connsiteX431" fmla="*/ 570299 w 1296888"/>
                <a:gd name="connsiteY431" fmla="*/ 1293827 h 1394444"/>
                <a:gd name="connsiteX432" fmla="*/ 575913 w 1296888"/>
                <a:gd name="connsiteY432" fmla="*/ 1296634 h 1394444"/>
                <a:gd name="connsiteX433" fmla="*/ 575913 w 1296888"/>
                <a:gd name="connsiteY433" fmla="*/ 1299951 h 1394444"/>
                <a:gd name="connsiteX434" fmla="*/ 574765 w 1296888"/>
                <a:gd name="connsiteY434" fmla="*/ 1302758 h 1394444"/>
                <a:gd name="connsiteX435" fmla="*/ 573617 w 1296888"/>
                <a:gd name="connsiteY435" fmla="*/ 1307733 h 1394444"/>
                <a:gd name="connsiteX436" fmla="*/ 575275 w 1296888"/>
                <a:gd name="connsiteY436" fmla="*/ 1314368 h 1394444"/>
                <a:gd name="connsiteX437" fmla="*/ 582548 w 1296888"/>
                <a:gd name="connsiteY437" fmla="*/ 1318195 h 1394444"/>
                <a:gd name="connsiteX438" fmla="*/ 582548 w 1296888"/>
                <a:gd name="connsiteY438" fmla="*/ 1324319 h 1394444"/>
                <a:gd name="connsiteX439" fmla="*/ 579996 w 1296888"/>
                <a:gd name="connsiteY439" fmla="*/ 1330316 h 1394444"/>
                <a:gd name="connsiteX440" fmla="*/ 584716 w 1296888"/>
                <a:gd name="connsiteY440" fmla="*/ 1331081 h 1394444"/>
                <a:gd name="connsiteX441" fmla="*/ 596582 w 1296888"/>
                <a:gd name="connsiteY441" fmla="*/ 1333123 h 1394444"/>
                <a:gd name="connsiteX442" fmla="*/ 602578 w 1296888"/>
                <a:gd name="connsiteY442" fmla="*/ 1332612 h 1394444"/>
                <a:gd name="connsiteX443" fmla="*/ 619802 w 1296888"/>
                <a:gd name="connsiteY443" fmla="*/ 1324702 h 1394444"/>
                <a:gd name="connsiteX444" fmla="*/ 625543 w 1296888"/>
                <a:gd name="connsiteY444" fmla="*/ 1322278 h 1394444"/>
                <a:gd name="connsiteX445" fmla="*/ 636388 w 1296888"/>
                <a:gd name="connsiteY445" fmla="*/ 1314495 h 1394444"/>
                <a:gd name="connsiteX446" fmla="*/ 639067 w 1296888"/>
                <a:gd name="connsiteY446" fmla="*/ 1307989 h 1394444"/>
                <a:gd name="connsiteX447" fmla="*/ 634602 w 1296888"/>
                <a:gd name="connsiteY447" fmla="*/ 1303778 h 1394444"/>
                <a:gd name="connsiteX448" fmla="*/ 625033 w 1296888"/>
                <a:gd name="connsiteY448" fmla="*/ 1297272 h 1394444"/>
                <a:gd name="connsiteX449" fmla="*/ 621078 w 1296888"/>
                <a:gd name="connsiteY449" fmla="*/ 1294210 h 1394444"/>
                <a:gd name="connsiteX450" fmla="*/ 618143 w 1296888"/>
                <a:gd name="connsiteY450" fmla="*/ 1287575 h 1394444"/>
                <a:gd name="connsiteX451" fmla="*/ 625033 w 1296888"/>
                <a:gd name="connsiteY451" fmla="*/ 1285534 h 1394444"/>
                <a:gd name="connsiteX452" fmla="*/ 625543 w 1296888"/>
                <a:gd name="connsiteY452" fmla="*/ 1285534 h 1394444"/>
                <a:gd name="connsiteX453" fmla="*/ 631922 w 1296888"/>
                <a:gd name="connsiteY453" fmla="*/ 1289489 h 1394444"/>
                <a:gd name="connsiteX454" fmla="*/ 634729 w 1296888"/>
                <a:gd name="connsiteY454" fmla="*/ 1291786 h 1394444"/>
                <a:gd name="connsiteX455" fmla="*/ 636515 w 1296888"/>
                <a:gd name="connsiteY455" fmla="*/ 1293189 h 1394444"/>
                <a:gd name="connsiteX456" fmla="*/ 637664 w 1296888"/>
                <a:gd name="connsiteY456" fmla="*/ 1294210 h 1394444"/>
                <a:gd name="connsiteX457" fmla="*/ 641746 w 1296888"/>
                <a:gd name="connsiteY457" fmla="*/ 1294465 h 1394444"/>
                <a:gd name="connsiteX458" fmla="*/ 642002 w 1296888"/>
                <a:gd name="connsiteY458" fmla="*/ 1294082 h 1394444"/>
                <a:gd name="connsiteX459" fmla="*/ 641108 w 1296888"/>
                <a:gd name="connsiteY459" fmla="*/ 1293444 h 1394444"/>
                <a:gd name="connsiteX460" fmla="*/ 639450 w 1296888"/>
                <a:gd name="connsiteY460" fmla="*/ 1292168 h 1394444"/>
                <a:gd name="connsiteX461" fmla="*/ 638684 w 1296888"/>
                <a:gd name="connsiteY461" fmla="*/ 1291530 h 1394444"/>
                <a:gd name="connsiteX462" fmla="*/ 636260 w 1296888"/>
                <a:gd name="connsiteY462" fmla="*/ 1287575 h 1394444"/>
                <a:gd name="connsiteX463" fmla="*/ 637409 w 1296888"/>
                <a:gd name="connsiteY463" fmla="*/ 1285917 h 1394444"/>
                <a:gd name="connsiteX464" fmla="*/ 649401 w 1296888"/>
                <a:gd name="connsiteY464" fmla="*/ 1289489 h 1394444"/>
                <a:gd name="connsiteX465" fmla="*/ 649784 w 1296888"/>
                <a:gd name="connsiteY465" fmla="*/ 1289744 h 1394444"/>
                <a:gd name="connsiteX466" fmla="*/ 673004 w 1296888"/>
                <a:gd name="connsiteY466" fmla="*/ 1301227 h 1394444"/>
                <a:gd name="connsiteX467" fmla="*/ 689590 w 1296888"/>
                <a:gd name="connsiteY467" fmla="*/ 1315388 h 1394444"/>
                <a:gd name="connsiteX468" fmla="*/ 702604 w 1296888"/>
                <a:gd name="connsiteY468" fmla="*/ 1321640 h 1394444"/>
                <a:gd name="connsiteX469" fmla="*/ 702859 w 1296888"/>
                <a:gd name="connsiteY469" fmla="*/ 1321640 h 1394444"/>
                <a:gd name="connsiteX470" fmla="*/ 707962 w 1296888"/>
                <a:gd name="connsiteY470" fmla="*/ 1321513 h 1394444"/>
                <a:gd name="connsiteX471" fmla="*/ 718807 w 1296888"/>
                <a:gd name="connsiteY471" fmla="*/ 1322533 h 1394444"/>
                <a:gd name="connsiteX472" fmla="*/ 721741 w 1296888"/>
                <a:gd name="connsiteY472" fmla="*/ 1306968 h 1394444"/>
                <a:gd name="connsiteX473" fmla="*/ 720848 w 1296888"/>
                <a:gd name="connsiteY473" fmla="*/ 1305054 h 1394444"/>
                <a:gd name="connsiteX474" fmla="*/ 718679 w 1296888"/>
                <a:gd name="connsiteY474" fmla="*/ 1299696 h 1394444"/>
                <a:gd name="connsiteX475" fmla="*/ 698521 w 1296888"/>
                <a:gd name="connsiteY475" fmla="*/ 1277368 h 1394444"/>
                <a:gd name="connsiteX476" fmla="*/ 684232 w 1296888"/>
                <a:gd name="connsiteY476" fmla="*/ 1268310 h 1394444"/>
                <a:gd name="connsiteX477" fmla="*/ 674025 w 1296888"/>
                <a:gd name="connsiteY477" fmla="*/ 1261293 h 1394444"/>
                <a:gd name="connsiteX478" fmla="*/ 664967 w 1296888"/>
                <a:gd name="connsiteY478" fmla="*/ 1250831 h 1394444"/>
                <a:gd name="connsiteX479" fmla="*/ 661012 w 1296888"/>
                <a:gd name="connsiteY479" fmla="*/ 1244835 h 1394444"/>
                <a:gd name="connsiteX480" fmla="*/ 659736 w 1296888"/>
                <a:gd name="connsiteY480" fmla="*/ 1240369 h 1394444"/>
                <a:gd name="connsiteX481" fmla="*/ 665349 w 1296888"/>
                <a:gd name="connsiteY481" fmla="*/ 1237307 h 1394444"/>
                <a:gd name="connsiteX482" fmla="*/ 678746 w 1296888"/>
                <a:gd name="connsiteY482" fmla="*/ 1242028 h 1394444"/>
                <a:gd name="connsiteX483" fmla="*/ 682828 w 1296888"/>
                <a:gd name="connsiteY483" fmla="*/ 1244707 h 1394444"/>
                <a:gd name="connsiteX484" fmla="*/ 695332 w 1296888"/>
                <a:gd name="connsiteY484" fmla="*/ 1254786 h 1394444"/>
                <a:gd name="connsiteX485" fmla="*/ 712173 w 1296888"/>
                <a:gd name="connsiteY485" fmla="*/ 1268310 h 1394444"/>
                <a:gd name="connsiteX486" fmla="*/ 726590 w 1296888"/>
                <a:gd name="connsiteY486" fmla="*/ 1278899 h 1394444"/>
                <a:gd name="connsiteX487" fmla="*/ 731055 w 1296888"/>
                <a:gd name="connsiteY487" fmla="*/ 1283110 h 1394444"/>
                <a:gd name="connsiteX488" fmla="*/ 745217 w 1296888"/>
                <a:gd name="connsiteY488" fmla="*/ 1302630 h 1394444"/>
                <a:gd name="connsiteX489" fmla="*/ 745855 w 1296888"/>
                <a:gd name="connsiteY489" fmla="*/ 1303268 h 1394444"/>
                <a:gd name="connsiteX490" fmla="*/ 761675 w 1296888"/>
                <a:gd name="connsiteY490" fmla="*/ 1317685 h 1394444"/>
                <a:gd name="connsiteX491" fmla="*/ 768182 w 1296888"/>
                <a:gd name="connsiteY491" fmla="*/ 1323554 h 1394444"/>
                <a:gd name="connsiteX492" fmla="*/ 774944 w 1296888"/>
                <a:gd name="connsiteY492" fmla="*/ 1329423 h 1394444"/>
                <a:gd name="connsiteX493" fmla="*/ 809519 w 1296888"/>
                <a:gd name="connsiteY493" fmla="*/ 1334654 h 1394444"/>
                <a:gd name="connsiteX494" fmla="*/ 829167 w 1296888"/>
                <a:gd name="connsiteY494" fmla="*/ 1339629 h 1394444"/>
                <a:gd name="connsiteX495" fmla="*/ 842053 w 1296888"/>
                <a:gd name="connsiteY495" fmla="*/ 1344477 h 1394444"/>
                <a:gd name="connsiteX496" fmla="*/ 860170 w 1296888"/>
                <a:gd name="connsiteY496" fmla="*/ 1356215 h 1394444"/>
                <a:gd name="connsiteX497" fmla="*/ 862211 w 1296888"/>
                <a:gd name="connsiteY497" fmla="*/ 1358512 h 1394444"/>
                <a:gd name="connsiteX498" fmla="*/ 868973 w 1296888"/>
                <a:gd name="connsiteY498" fmla="*/ 1373694 h 1394444"/>
                <a:gd name="connsiteX499" fmla="*/ 870759 w 1296888"/>
                <a:gd name="connsiteY499" fmla="*/ 1380073 h 1394444"/>
                <a:gd name="connsiteX500" fmla="*/ 872035 w 1296888"/>
                <a:gd name="connsiteY500" fmla="*/ 1380073 h 1394444"/>
                <a:gd name="connsiteX501" fmla="*/ 874714 w 1296888"/>
                <a:gd name="connsiteY501" fmla="*/ 1380711 h 1394444"/>
                <a:gd name="connsiteX502" fmla="*/ 874842 w 1296888"/>
                <a:gd name="connsiteY502" fmla="*/ 1380966 h 1394444"/>
                <a:gd name="connsiteX503" fmla="*/ 881859 w 1296888"/>
                <a:gd name="connsiteY503" fmla="*/ 1384284 h 1394444"/>
                <a:gd name="connsiteX504" fmla="*/ 892959 w 1296888"/>
                <a:gd name="connsiteY504" fmla="*/ 1387091 h 1394444"/>
                <a:gd name="connsiteX505" fmla="*/ 898572 w 1296888"/>
                <a:gd name="connsiteY505" fmla="*/ 1388111 h 1394444"/>
                <a:gd name="connsiteX506" fmla="*/ 910055 w 1296888"/>
                <a:gd name="connsiteY506" fmla="*/ 1392577 h 1394444"/>
                <a:gd name="connsiteX507" fmla="*/ 915031 w 1296888"/>
                <a:gd name="connsiteY507" fmla="*/ 1393852 h 1394444"/>
                <a:gd name="connsiteX508" fmla="*/ 915414 w 1296888"/>
                <a:gd name="connsiteY508" fmla="*/ 1393980 h 1394444"/>
                <a:gd name="connsiteX509" fmla="*/ 924472 w 1296888"/>
                <a:gd name="connsiteY509" fmla="*/ 1383008 h 1394444"/>
                <a:gd name="connsiteX510" fmla="*/ 948713 w 1296888"/>
                <a:gd name="connsiteY510" fmla="*/ 1383008 h 1394444"/>
                <a:gd name="connsiteX511" fmla="*/ 991581 w 1296888"/>
                <a:gd name="connsiteY511" fmla="*/ 1366932 h 1394444"/>
                <a:gd name="connsiteX512" fmla="*/ 1007401 w 1296888"/>
                <a:gd name="connsiteY512" fmla="*/ 1343584 h 1394444"/>
                <a:gd name="connsiteX513" fmla="*/ 1064942 w 1296888"/>
                <a:gd name="connsiteY513" fmla="*/ 1352515 h 1394444"/>
                <a:gd name="connsiteX514" fmla="*/ 1074000 w 1296888"/>
                <a:gd name="connsiteY514" fmla="*/ 1335292 h 1394444"/>
                <a:gd name="connsiteX515" fmla="*/ 1095945 w 1296888"/>
                <a:gd name="connsiteY515" fmla="*/ 1340267 h 1394444"/>
                <a:gd name="connsiteX516" fmla="*/ 1112275 w 1296888"/>
                <a:gd name="connsiteY516" fmla="*/ 1360298 h 1394444"/>
                <a:gd name="connsiteX517" fmla="*/ 1142130 w 1296888"/>
                <a:gd name="connsiteY517" fmla="*/ 1326361 h 1394444"/>
                <a:gd name="connsiteX518" fmla="*/ 1130265 w 1296888"/>
                <a:gd name="connsiteY518" fmla="*/ 1287958 h 1394444"/>
                <a:gd name="connsiteX519" fmla="*/ 1111127 w 1296888"/>
                <a:gd name="connsiteY519" fmla="*/ 1267417 h 1394444"/>
                <a:gd name="connsiteX520" fmla="*/ 1136516 w 1296888"/>
                <a:gd name="connsiteY520" fmla="*/ 1249683 h 1394444"/>
                <a:gd name="connsiteX521" fmla="*/ 1120186 w 1296888"/>
                <a:gd name="connsiteY521" fmla="*/ 1222507 h 1394444"/>
                <a:gd name="connsiteX522" fmla="*/ 1131413 w 1296888"/>
                <a:gd name="connsiteY522" fmla="*/ 1208091 h 1394444"/>
                <a:gd name="connsiteX523" fmla="*/ 1131413 w 1296888"/>
                <a:gd name="connsiteY523" fmla="*/ 1177470 h 1394444"/>
                <a:gd name="connsiteX524" fmla="*/ 1120186 w 1296888"/>
                <a:gd name="connsiteY524" fmla="*/ 1165733 h 1394444"/>
                <a:gd name="connsiteX525" fmla="*/ 1136516 w 1296888"/>
                <a:gd name="connsiteY525" fmla="*/ 1143533 h 1394444"/>
                <a:gd name="connsiteX526" fmla="*/ 1133709 w 1296888"/>
                <a:gd name="connsiteY526" fmla="*/ 1117378 h 1394444"/>
                <a:gd name="connsiteX527" fmla="*/ 1152337 w 1296888"/>
                <a:gd name="connsiteY527" fmla="*/ 1092372 h 1394444"/>
                <a:gd name="connsiteX528" fmla="*/ 1137665 w 1296888"/>
                <a:gd name="connsiteY528" fmla="*/ 1086758 h 1394444"/>
                <a:gd name="connsiteX529" fmla="*/ 1150040 w 1296888"/>
                <a:gd name="connsiteY529" fmla="*/ 1070045 h 1394444"/>
                <a:gd name="connsiteX530" fmla="*/ 1120186 w 1296888"/>
                <a:gd name="connsiteY530" fmla="*/ 1001150 h 1394444"/>
                <a:gd name="connsiteX531" fmla="*/ 1102707 w 1296888"/>
                <a:gd name="connsiteY531" fmla="*/ 927789 h 1394444"/>
                <a:gd name="connsiteX532" fmla="*/ 1084590 w 1296888"/>
                <a:gd name="connsiteY532" fmla="*/ 911713 h 1394444"/>
                <a:gd name="connsiteX533" fmla="*/ 1084590 w 1296888"/>
                <a:gd name="connsiteY533" fmla="*/ 887855 h 1394444"/>
                <a:gd name="connsiteX534" fmla="*/ 1103727 w 1296888"/>
                <a:gd name="connsiteY534" fmla="*/ 863359 h 1394444"/>
                <a:gd name="connsiteX535" fmla="*/ 1098114 w 1296888"/>
                <a:gd name="connsiteY535" fmla="*/ 842818 h 1394444"/>
                <a:gd name="connsiteX536" fmla="*/ 1129116 w 1296888"/>
                <a:gd name="connsiteY536" fmla="*/ 840649 h 1394444"/>
                <a:gd name="connsiteX537" fmla="*/ 1148892 w 1296888"/>
                <a:gd name="connsiteY537" fmla="*/ 849580 h 1394444"/>
                <a:gd name="connsiteX538" fmla="*/ 1157950 w 1296888"/>
                <a:gd name="connsiteY538" fmla="*/ 843966 h 1394444"/>
                <a:gd name="connsiteX539" fmla="*/ 1163564 w 1296888"/>
                <a:gd name="connsiteY539" fmla="*/ 831718 h 1394444"/>
                <a:gd name="connsiteX540" fmla="*/ 1185508 w 1296888"/>
                <a:gd name="connsiteY540" fmla="*/ 822277 h 1394444"/>
                <a:gd name="connsiteX541" fmla="*/ 1182064 w 1296888"/>
                <a:gd name="connsiteY541" fmla="*/ 810029 h 1394444"/>
                <a:gd name="connsiteX542" fmla="*/ 1198394 w 1296888"/>
                <a:gd name="connsiteY542" fmla="*/ 805564 h 1394444"/>
                <a:gd name="connsiteX543" fmla="*/ 1217532 w 1296888"/>
                <a:gd name="connsiteY543" fmla="*/ 797781 h 1394444"/>
                <a:gd name="connsiteX544" fmla="*/ 1219828 w 1296888"/>
                <a:gd name="connsiteY544" fmla="*/ 758358 h 1394444"/>
                <a:gd name="connsiteX545" fmla="*/ 1228249 w 1296888"/>
                <a:gd name="connsiteY545" fmla="*/ 745599 h 1394444"/>
                <a:gd name="connsiteX546" fmla="*/ 1199415 w 1296888"/>
                <a:gd name="connsiteY546" fmla="*/ 727865 h 1394444"/>
                <a:gd name="connsiteX547" fmla="*/ 1195970 w 1296888"/>
                <a:gd name="connsiteY547" fmla="*/ 708473 h 1394444"/>
                <a:gd name="connsiteX548" fmla="*/ 1211791 w 1296888"/>
                <a:gd name="connsiteY548" fmla="*/ 694056 h 1394444"/>
                <a:gd name="connsiteX549" fmla="*/ 1242794 w 1296888"/>
                <a:gd name="connsiteY549" fmla="*/ 714086 h 1394444"/>
                <a:gd name="connsiteX550" fmla="*/ 1255169 w 1296888"/>
                <a:gd name="connsiteY550" fmla="*/ 708473 h 1394444"/>
                <a:gd name="connsiteX551" fmla="*/ 1259124 w 1296888"/>
                <a:gd name="connsiteY551" fmla="*/ 695076 h 1394444"/>
                <a:gd name="connsiteX552" fmla="*/ 1269331 w 1296888"/>
                <a:gd name="connsiteY552" fmla="*/ 698393 h 1394444"/>
                <a:gd name="connsiteX553" fmla="*/ 1265886 w 1296888"/>
                <a:gd name="connsiteY553" fmla="*/ 724548 h 1394444"/>
                <a:gd name="connsiteX554" fmla="*/ 1296889 w 1296888"/>
                <a:gd name="connsiteY554" fmla="*/ 702859 h 139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1296888" h="1394444">
                  <a:moveTo>
                    <a:pt x="1296889" y="702859"/>
                  </a:moveTo>
                  <a:lnTo>
                    <a:pt x="1285024" y="668922"/>
                  </a:lnTo>
                  <a:lnTo>
                    <a:pt x="1269203" y="670070"/>
                  </a:lnTo>
                  <a:lnTo>
                    <a:pt x="1266907" y="648381"/>
                  </a:lnTo>
                  <a:lnTo>
                    <a:pt x="1279283" y="645063"/>
                  </a:lnTo>
                  <a:lnTo>
                    <a:pt x="1281579" y="616740"/>
                  </a:lnTo>
                  <a:lnTo>
                    <a:pt x="1270352" y="610106"/>
                  </a:lnTo>
                  <a:cubicBezTo>
                    <a:pt x="1270352" y="610106"/>
                    <a:pt x="1285024" y="595689"/>
                    <a:pt x="1286682" y="590075"/>
                  </a:cubicBezTo>
                  <a:cubicBezTo>
                    <a:pt x="1287831" y="584461"/>
                    <a:pt x="1272521" y="563920"/>
                    <a:pt x="1272521" y="563920"/>
                  </a:cubicBezTo>
                  <a:cubicBezTo>
                    <a:pt x="1272521" y="563920"/>
                    <a:pt x="1282727" y="557286"/>
                    <a:pt x="1284896" y="550524"/>
                  </a:cubicBezTo>
                  <a:cubicBezTo>
                    <a:pt x="1287703" y="543252"/>
                    <a:pt x="1239221" y="489411"/>
                    <a:pt x="1239221" y="489411"/>
                  </a:cubicBezTo>
                  <a:lnTo>
                    <a:pt x="1206432" y="484435"/>
                  </a:lnTo>
                  <a:lnTo>
                    <a:pt x="1180533" y="437230"/>
                  </a:lnTo>
                  <a:lnTo>
                    <a:pt x="1200308" y="422813"/>
                  </a:lnTo>
                  <a:lnTo>
                    <a:pt x="1198012" y="412861"/>
                  </a:lnTo>
                  <a:lnTo>
                    <a:pt x="1151699" y="384537"/>
                  </a:lnTo>
                  <a:lnTo>
                    <a:pt x="1139323" y="337842"/>
                  </a:lnTo>
                  <a:lnTo>
                    <a:pt x="1151699" y="331207"/>
                  </a:lnTo>
                  <a:cubicBezTo>
                    <a:pt x="1151699" y="331207"/>
                    <a:pt x="1148254" y="324573"/>
                    <a:pt x="1148254" y="318959"/>
                  </a:cubicBezTo>
                  <a:cubicBezTo>
                    <a:pt x="1148254" y="313346"/>
                    <a:pt x="1152719" y="305053"/>
                    <a:pt x="1150550" y="300587"/>
                  </a:cubicBezTo>
                  <a:cubicBezTo>
                    <a:pt x="1148254" y="296122"/>
                    <a:pt x="1139323" y="296122"/>
                    <a:pt x="1135878" y="290636"/>
                  </a:cubicBezTo>
                  <a:cubicBezTo>
                    <a:pt x="1131923" y="285022"/>
                    <a:pt x="1142640" y="271243"/>
                    <a:pt x="1142640" y="271243"/>
                  </a:cubicBezTo>
                  <a:lnTo>
                    <a:pt x="1139196" y="260143"/>
                  </a:lnTo>
                  <a:cubicBezTo>
                    <a:pt x="1139196" y="260143"/>
                    <a:pt x="1157312" y="260143"/>
                    <a:pt x="1160630" y="254530"/>
                  </a:cubicBezTo>
                  <a:cubicBezTo>
                    <a:pt x="1164074" y="248916"/>
                    <a:pt x="1147106" y="232840"/>
                    <a:pt x="1144809" y="229523"/>
                  </a:cubicBezTo>
                  <a:cubicBezTo>
                    <a:pt x="1142513" y="226206"/>
                    <a:pt x="1128479" y="228375"/>
                    <a:pt x="1128479" y="228375"/>
                  </a:cubicBezTo>
                  <a:lnTo>
                    <a:pt x="1141492" y="208344"/>
                  </a:lnTo>
                  <a:lnTo>
                    <a:pt x="1138047" y="180021"/>
                  </a:lnTo>
                  <a:lnTo>
                    <a:pt x="1126182" y="180021"/>
                  </a:lnTo>
                  <a:cubicBezTo>
                    <a:pt x="1121717" y="180021"/>
                    <a:pt x="1119420" y="157183"/>
                    <a:pt x="1119420" y="157183"/>
                  </a:cubicBezTo>
                  <a:cubicBezTo>
                    <a:pt x="1119420" y="157183"/>
                    <a:pt x="1107044" y="173259"/>
                    <a:pt x="1103089" y="178872"/>
                  </a:cubicBezTo>
                  <a:cubicBezTo>
                    <a:pt x="1099645" y="184486"/>
                    <a:pt x="1101941" y="196607"/>
                    <a:pt x="1101941" y="196607"/>
                  </a:cubicBezTo>
                  <a:lnTo>
                    <a:pt x="1057414" y="196607"/>
                  </a:lnTo>
                  <a:cubicBezTo>
                    <a:pt x="1057414" y="196607"/>
                    <a:pt x="1056266" y="178872"/>
                    <a:pt x="1056266" y="163818"/>
                  </a:cubicBezTo>
                  <a:cubicBezTo>
                    <a:pt x="1056266" y="148763"/>
                    <a:pt x="1048356" y="129880"/>
                    <a:pt x="1048356" y="129880"/>
                  </a:cubicBezTo>
                  <a:cubicBezTo>
                    <a:pt x="1048356" y="129880"/>
                    <a:pt x="1040956" y="135494"/>
                    <a:pt x="1036491" y="140470"/>
                  </a:cubicBezTo>
                  <a:cubicBezTo>
                    <a:pt x="1032025" y="144935"/>
                    <a:pt x="1027432" y="153866"/>
                    <a:pt x="1027432" y="153866"/>
                  </a:cubicBezTo>
                  <a:lnTo>
                    <a:pt x="1012250" y="147232"/>
                  </a:lnTo>
                  <a:cubicBezTo>
                    <a:pt x="1012250" y="147232"/>
                    <a:pt x="1024115" y="128860"/>
                    <a:pt x="1028580" y="123374"/>
                  </a:cubicBezTo>
                  <a:cubicBezTo>
                    <a:pt x="1033046" y="117760"/>
                    <a:pt x="1040956" y="114443"/>
                    <a:pt x="1040956" y="114443"/>
                  </a:cubicBezTo>
                  <a:cubicBezTo>
                    <a:pt x="1040956" y="114443"/>
                    <a:pt x="1039808" y="108829"/>
                    <a:pt x="1036491" y="104491"/>
                  </a:cubicBezTo>
                  <a:cubicBezTo>
                    <a:pt x="1033046" y="99515"/>
                    <a:pt x="1024115" y="88416"/>
                    <a:pt x="1024115" y="88416"/>
                  </a:cubicBezTo>
                  <a:lnTo>
                    <a:pt x="1025263" y="61113"/>
                  </a:lnTo>
                  <a:lnTo>
                    <a:pt x="1010081" y="55499"/>
                  </a:lnTo>
                  <a:lnTo>
                    <a:pt x="1002171" y="45547"/>
                  </a:lnTo>
                  <a:lnTo>
                    <a:pt x="988647" y="68895"/>
                  </a:lnTo>
                  <a:lnTo>
                    <a:pt x="971168" y="42230"/>
                  </a:lnTo>
                  <a:lnTo>
                    <a:pt x="960961" y="45547"/>
                  </a:lnTo>
                  <a:lnTo>
                    <a:pt x="959813" y="65578"/>
                  </a:lnTo>
                  <a:lnTo>
                    <a:pt x="943482" y="65578"/>
                  </a:lnTo>
                  <a:cubicBezTo>
                    <a:pt x="943482" y="65578"/>
                    <a:pt x="936720" y="40061"/>
                    <a:pt x="936720" y="32789"/>
                  </a:cubicBezTo>
                  <a:cubicBezTo>
                    <a:pt x="936720" y="26155"/>
                    <a:pt x="945779" y="0"/>
                    <a:pt x="945779" y="0"/>
                  </a:cubicBezTo>
                  <a:lnTo>
                    <a:pt x="916945" y="9441"/>
                  </a:lnTo>
                  <a:lnTo>
                    <a:pt x="915796" y="38913"/>
                  </a:lnTo>
                  <a:lnTo>
                    <a:pt x="910183" y="23858"/>
                  </a:lnTo>
                  <a:cubicBezTo>
                    <a:pt x="910183" y="23858"/>
                    <a:pt x="898955" y="16076"/>
                    <a:pt x="895000" y="16076"/>
                  </a:cubicBezTo>
                  <a:cubicBezTo>
                    <a:pt x="891555" y="16076"/>
                    <a:pt x="881476" y="3828"/>
                    <a:pt x="881476" y="3828"/>
                  </a:cubicBezTo>
                  <a:lnTo>
                    <a:pt x="870249" y="14927"/>
                  </a:lnTo>
                  <a:lnTo>
                    <a:pt x="852770" y="4976"/>
                  </a:lnTo>
                  <a:cubicBezTo>
                    <a:pt x="852770" y="4976"/>
                    <a:pt x="846008" y="7145"/>
                    <a:pt x="838098" y="11610"/>
                  </a:cubicBezTo>
                  <a:cubicBezTo>
                    <a:pt x="829677" y="16076"/>
                    <a:pt x="810412" y="17224"/>
                    <a:pt x="810412" y="17224"/>
                  </a:cubicBezTo>
                  <a:lnTo>
                    <a:pt x="809264" y="37765"/>
                  </a:lnTo>
                  <a:lnTo>
                    <a:pt x="827381" y="44399"/>
                  </a:lnTo>
                  <a:lnTo>
                    <a:pt x="816153" y="54351"/>
                  </a:lnTo>
                  <a:cubicBezTo>
                    <a:pt x="816153" y="54351"/>
                    <a:pt x="825212" y="55499"/>
                    <a:pt x="830826" y="55499"/>
                  </a:cubicBezTo>
                  <a:cubicBezTo>
                    <a:pt x="837077" y="55499"/>
                    <a:pt x="844987" y="36617"/>
                    <a:pt x="844987" y="36617"/>
                  </a:cubicBezTo>
                  <a:lnTo>
                    <a:pt x="857363" y="55499"/>
                  </a:lnTo>
                  <a:cubicBezTo>
                    <a:pt x="857363" y="55499"/>
                    <a:pt x="855066" y="63282"/>
                    <a:pt x="852897" y="70554"/>
                  </a:cubicBezTo>
                  <a:cubicBezTo>
                    <a:pt x="850601" y="77188"/>
                    <a:pt x="850601" y="88288"/>
                    <a:pt x="850601" y="88288"/>
                  </a:cubicBezTo>
                  <a:lnTo>
                    <a:pt x="831974" y="97219"/>
                  </a:lnTo>
                  <a:lnTo>
                    <a:pt x="826360" y="84971"/>
                  </a:lnTo>
                  <a:lnTo>
                    <a:pt x="793061" y="90584"/>
                  </a:lnTo>
                  <a:lnTo>
                    <a:pt x="791912" y="116739"/>
                  </a:lnTo>
                  <a:lnTo>
                    <a:pt x="778389" y="124522"/>
                  </a:lnTo>
                  <a:lnTo>
                    <a:pt x="774433" y="139577"/>
                  </a:lnTo>
                  <a:lnTo>
                    <a:pt x="758613" y="139577"/>
                  </a:lnTo>
                  <a:lnTo>
                    <a:pt x="744451" y="131284"/>
                  </a:lnTo>
                  <a:lnTo>
                    <a:pt x="717404" y="135749"/>
                  </a:lnTo>
                  <a:lnTo>
                    <a:pt x="715107" y="131922"/>
                  </a:lnTo>
                  <a:lnTo>
                    <a:pt x="709493" y="141363"/>
                  </a:lnTo>
                  <a:cubicBezTo>
                    <a:pt x="709493" y="141363"/>
                    <a:pt x="729779" y="165859"/>
                    <a:pt x="723017" y="176321"/>
                  </a:cubicBezTo>
                  <a:cubicBezTo>
                    <a:pt x="716766" y="186910"/>
                    <a:pt x="704900" y="170707"/>
                    <a:pt x="704900" y="170707"/>
                  </a:cubicBezTo>
                  <a:lnTo>
                    <a:pt x="694183" y="183465"/>
                  </a:lnTo>
                  <a:lnTo>
                    <a:pt x="666498" y="171855"/>
                  </a:lnTo>
                  <a:lnTo>
                    <a:pt x="653484" y="174024"/>
                  </a:lnTo>
                  <a:lnTo>
                    <a:pt x="647232" y="190738"/>
                  </a:lnTo>
                  <a:lnTo>
                    <a:pt x="648891" y="205793"/>
                  </a:lnTo>
                  <a:lnTo>
                    <a:pt x="641619" y="216382"/>
                  </a:lnTo>
                  <a:lnTo>
                    <a:pt x="627457" y="215234"/>
                  </a:lnTo>
                  <a:cubicBezTo>
                    <a:pt x="627457" y="215234"/>
                    <a:pt x="619036" y="243557"/>
                    <a:pt x="607171" y="248023"/>
                  </a:cubicBezTo>
                  <a:cubicBezTo>
                    <a:pt x="595944" y="251850"/>
                    <a:pt x="585737" y="230799"/>
                    <a:pt x="585737" y="230799"/>
                  </a:cubicBezTo>
                  <a:lnTo>
                    <a:pt x="603216" y="219699"/>
                  </a:lnTo>
                  <a:lnTo>
                    <a:pt x="604364" y="213065"/>
                  </a:lnTo>
                  <a:lnTo>
                    <a:pt x="598751" y="197500"/>
                  </a:lnTo>
                  <a:lnTo>
                    <a:pt x="610616" y="189207"/>
                  </a:lnTo>
                  <a:cubicBezTo>
                    <a:pt x="610616" y="189207"/>
                    <a:pt x="620185" y="202603"/>
                    <a:pt x="625798" y="198648"/>
                  </a:cubicBezTo>
                  <a:cubicBezTo>
                    <a:pt x="630902" y="194182"/>
                    <a:pt x="628605" y="175300"/>
                    <a:pt x="628605" y="175300"/>
                  </a:cubicBezTo>
                  <a:lnTo>
                    <a:pt x="598751" y="169176"/>
                  </a:lnTo>
                  <a:lnTo>
                    <a:pt x="595944" y="154121"/>
                  </a:lnTo>
                  <a:lnTo>
                    <a:pt x="578465" y="169176"/>
                  </a:lnTo>
                  <a:lnTo>
                    <a:pt x="557031" y="158587"/>
                  </a:lnTo>
                  <a:cubicBezTo>
                    <a:pt x="557031" y="158587"/>
                    <a:pt x="555883" y="151952"/>
                    <a:pt x="551927" y="145828"/>
                  </a:cubicBezTo>
                  <a:cubicBezTo>
                    <a:pt x="547462" y="139704"/>
                    <a:pt x="546314" y="129115"/>
                    <a:pt x="542869" y="125798"/>
                  </a:cubicBezTo>
                  <a:cubicBezTo>
                    <a:pt x="540062" y="122480"/>
                    <a:pt x="546314" y="109084"/>
                    <a:pt x="546314" y="109084"/>
                  </a:cubicBezTo>
                  <a:lnTo>
                    <a:pt x="537893" y="97346"/>
                  </a:lnTo>
                  <a:lnTo>
                    <a:pt x="498342" y="110105"/>
                  </a:lnTo>
                  <a:cubicBezTo>
                    <a:pt x="498342" y="110105"/>
                    <a:pt x="513014" y="132942"/>
                    <a:pt x="513014" y="140725"/>
                  </a:cubicBezTo>
                  <a:cubicBezTo>
                    <a:pt x="513014" y="147997"/>
                    <a:pt x="513014" y="161266"/>
                    <a:pt x="507911" y="161266"/>
                  </a:cubicBezTo>
                  <a:cubicBezTo>
                    <a:pt x="502297" y="161266"/>
                    <a:pt x="482011" y="157438"/>
                    <a:pt x="482011" y="157438"/>
                  </a:cubicBezTo>
                  <a:cubicBezTo>
                    <a:pt x="482011" y="157438"/>
                    <a:pt x="478056" y="147997"/>
                    <a:pt x="476908" y="143532"/>
                  </a:cubicBezTo>
                  <a:cubicBezTo>
                    <a:pt x="475760" y="139704"/>
                    <a:pt x="467339" y="138556"/>
                    <a:pt x="467339" y="138556"/>
                  </a:cubicBezTo>
                  <a:lnTo>
                    <a:pt x="457771" y="114060"/>
                  </a:lnTo>
                  <a:lnTo>
                    <a:pt x="436336" y="119674"/>
                  </a:lnTo>
                  <a:lnTo>
                    <a:pt x="439143" y="134091"/>
                  </a:lnTo>
                  <a:lnTo>
                    <a:pt x="437995" y="150166"/>
                  </a:lnTo>
                  <a:lnTo>
                    <a:pt x="445905" y="183465"/>
                  </a:lnTo>
                  <a:lnTo>
                    <a:pt x="441440" y="203496"/>
                  </a:lnTo>
                  <a:lnTo>
                    <a:pt x="464022" y="210768"/>
                  </a:lnTo>
                  <a:lnTo>
                    <a:pt x="461726" y="236285"/>
                  </a:lnTo>
                  <a:cubicBezTo>
                    <a:pt x="461726" y="236285"/>
                    <a:pt x="451009" y="241261"/>
                    <a:pt x="447054" y="242409"/>
                  </a:cubicBezTo>
                  <a:cubicBezTo>
                    <a:pt x="442588" y="243557"/>
                    <a:pt x="440292" y="256316"/>
                    <a:pt x="440292" y="256316"/>
                  </a:cubicBezTo>
                  <a:lnTo>
                    <a:pt x="459429" y="254147"/>
                  </a:lnTo>
                  <a:lnTo>
                    <a:pt x="457771" y="269202"/>
                  </a:lnTo>
                  <a:lnTo>
                    <a:pt x="444757" y="281450"/>
                  </a:lnTo>
                  <a:lnTo>
                    <a:pt x="456622" y="302629"/>
                  </a:lnTo>
                  <a:lnTo>
                    <a:pt x="442460" y="318704"/>
                  </a:lnTo>
                  <a:lnTo>
                    <a:pt x="414775" y="343200"/>
                  </a:lnTo>
                  <a:lnTo>
                    <a:pt x="419240" y="350473"/>
                  </a:lnTo>
                  <a:cubicBezTo>
                    <a:pt x="419240" y="350473"/>
                    <a:pt x="408013" y="371014"/>
                    <a:pt x="405078" y="382113"/>
                  </a:cubicBezTo>
                  <a:cubicBezTo>
                    <a:pt x="402782" y="393851"/>
                    <a:pt x="389258" y="430468"/>
                    <a:pt x="389258" y="430468"/>
                  </a:cubicBezTo>
                  <a:cubicBezTo>
                    <a:pt x="389258" y="430468"/>
                    <a:pt x="375096" y="439398"/>
                    <a:pt x="372927" y="446033"/>
                  </a:cubicBezTo>
                  <a:cubicBezTo>
                    <a:pt x="370631" y="453305"/>
                    <a:pt x="370631" y="464405"/>
                    <a:pt x="367824" y="476015"/>
                  </a:cubicBezTo>
                  <a:cubicBezTo>
                    <a:pt x="366165" y="484308"/>
                    <a:pt x="350345" y="499873"/>
                    <a:pt x="341925" y="506635"/>
                  </a:cubicBezTo>
                  <a:lnTo>
                    <a:pt x="336821" y="506125"/>
                  </a:lnTo>
                  <a:lnTo>
                    <a:pt x="336821" y="506635"/>
                  </a:lnTo>
                  <a:lnTo>
                    <a:pt x="311942" y="523859"/>
                  </a:lnTo>
                  <a:lnTo>
                    <a:pt x="283746" y="577189"/>
                  </a:lnTo>
                  <a:lnTo>
                    <a:pt x="276346" y="607809"/>
                  </a:lnTo>
                  <a:lnTo>
                    <a:pt x="255423" y="610616"/>
                  </a:lnTo>
                  <a:lnTo>
                    <a:pt x="251468" y="617888"/>
                  </a:lnTo>
                  <a:cubicBezTo>
                    <a:pt x="251468" y="617888"/>
                    <a:pt x="236285" y="626819"/>
                    <a:pt x="221613" y="632305"/>
                  </a:cubicBezTo>
                  <a:cubicBezTo>
                    <a:pt x="206941" y="638429"/>
                    <a:pt x="202475" y="672877"/>
                    <a:pt x="202475" y="672877"/>
                  </a:cubicBezTo>
                  <a:lnTo>
                    <a:pt x="164073" y="691759"/>
                  </a:lnTo>
                  <a:cubicBezTo>
                    <a:pt x="164073" y="691759"/>
                    <a:pt x="162414" y="703497"/>
                    <a:pt x="159607" y="715107"/>
                  </a:cubicBezTo>
                  <a:cubicBezTo>
                    <a:pt x="156800" y="726717"/>
                    <a:pt x="143277" y="729524"/>
                    <a:pt x="143277" y="729524"/>
                  </a:cubicBezTo>
                  <a:cubicBezTo>
                    <a:pt x="143277" y="729524"/>
                    <a:pt x="147742" y="760144"/>
                    <a:pt x="144935" y="781833"/>
                  </a:cubicBezTo>
                  <a:cubicBezTo>
                    <a:pt x="142128" y="803522"/>
                    <a:pt x="106532" y="865783"/>
                    <a:pt x="107681" y="870249"/>
                  </a:cubicBezTo>
                  <a:cubicBezTo>
                    <a:pt x="108191" y="870759"/>
                    <a:pt x="108829" y="871907"/>
                    <a:pt x="108829" y="873056"/>
                  </a:cubicBezTo>
                  <a:cubicBezTo>
                    <a:pt x="112274" y="879690"/>
                    <a:pt x="119546" y="894745"/>
                    <a:pt x="119546" y="894745"/>
                  </a:cubicBezTo>
                  <a:lnTo>
                    <a:pt x="119036" y="895893"/>
                  </a:lnTo>
                  <a:lnTo>
                    <a:pt x="88543" y="919751"/>
                  </a:lnTo>
                  <a:cubicBezTo>
                    <a:pt x="88543" y="919751"/>
                    <a:pt x="84588" y="936975"/>
                    <a:pt x="81271" y="949733"/>
                  </a:cubicBezTo>
                  <a:cubicBezTo>
                    <a:pt x="78464" y="963130"/>
                    <a:pt x="49120" y="1000894"/>
                    <a:pt x="44654" y="1010846"/>
                  </a:cubicBezTo>
                  <a:cubicBezTo>
                    <a:pt x="40189" y="1020798"/>
                    <a:pt x="31641" y="1055883"/>
                    <a:pt x="38403" y="1082038"/>
                  </a:cubicBezTo>
                  <a:lnTo>
                    <a:pt x="38403" y="1083186"/>
                  </a:lnTo>
                  <a:cubicBezTo>
                    <a:pt x="45675" y="1109341"/>
                    <a:pt x="50268" y="1122609"/>
                    <a:pt x="50268" y="1122609"/>
                  </a:cubicBezTo>
                  <a:lnTo>
                    <a:pt x="50268" y="1123120"/>
                  </a:lnTo>
                  <a:cubicBezTo>
                    <a:pt x="47971" y="1127585"/>
                    <a:pt x="32151" y="1158078"/>
                    <a:pt x="26537" y="1170326"/>
                  </a:cubicBezTo>
                  <a:cubicBezTo>
                    <a:pt x="20924" y="1183084"/>
                    <a:pt x="26537" y="1190356"/>
                    <a:pt x="25389" y="1201966"/>
                  </a:cubicBezTo>
                  <a:cubicBezTo>
                    <a:pt x="23731" y="1213704"/>
                    <a:pt x="7272" y="1218042"/>
                    <a:pt x="7272" y="1235266"/>
                  </a:cubicBezTo>
                  <a:cubicBezTo>
                    <a:pt x="7272" y="1240880"/>
                    <a:pt x="8421" y="1245855"/>
                    <a:pt x="9569" y="1250321"/>
                  </a:cubicBezTo>
                  <a:cubicBezTo>
                    <a:pt x="11227" y="1257593"/>
                    <a:pt x="14034" y="1263079"/>
                    <a:pt x="14672" y="1268693"/>
                  </a:cubicBezTo>
                  <a:cubicBezTo>
                    <a:pt x="15182" y="1269841"/>
                    <a:pt x="15182" y="1271500"/>
                    <a:pt x="14672" y="1273158"/>
                  </a:cubicBezTo>
                  <a:cubicBezTo>
                    <a:pt x="13524" y="1281451"/>
                    <a:pt x="0" y="1295996"/>
                    <a:pt x="0" y="1310413"/>
                  </a:cubicBezTo>
                  <a:cubicBezTo>
                    <a:pt x="0" y="1313219"/>
                    <a:pt x="510" y="1315388"/>
                    <a:pt x="1148" y="1318195"/>
                  </a:cubicBezTo>
                  <a:cubicBezTo>
                    <a:pt x="5614" y="1331592"/>
                    <a:pt x="19265" y="1347667"/>
                    <a:pt x="25389" y="1352643"/>
                  </a:cubicBezTo>
                  <a:cubicBezTo>
                    <a:pt x="27048" y="1354301"/>
                    <a:pt x="28196" y="1356470"/>
                    <a:pt x="28196" y="1358257"/>
                  </a:cubicBezTo>
                  <a:cubicBezTo>
                    <a:pt x="29855" y="1358767"/>
                    <a:pt x="29855" y="1359405"/>
                    <a:pt x="29855" y="1359405"/>
                  </a:cubicBezTo>
                  <a:lnTo>
                    <a:pt x="34320" y="1354939"/>
                  </a:lnTo>
                  <a:cubicBezTo>
                    <a:pt x="33810" y="1349964"/>
                    <a:pt x="45037" y="1352771"/>
                    <a:pt x="43889" y="1352771"/>
                  </a:cubicBezTo>
                  <a:cubicBezTo>
                    <a:pt x="45037" y="1354939"/>
                    <a:pt x="50140" y="1354939"/>
                    <a:pt x="50140" y="1354429"/>
                  </a:cubicBezTo>
                  <a:cubicBezTo>
                    <a:pt x="50140" y="1349964"/>
                    <a:pt x="57540" y="1349964"/>
                    <a:pt x="58051" y="1349964"/>
                  </a:cubicBezTo>
                  <a:cubicBezTo>
                    <a:pt x="63154" y="1351112"/>
                    <a:pt x="59709" y="1352771"/>
                    <a:pt x="59709" y="1352771"/>
                  </a:cubicBezTo>
                  <a:cubicBezTo>
                    <a:pt x="58051" y="1352771"/>
                    <a:pt x="57413" y="1354939"/>
                    <a:pt x="57413" y="1354939"/>
                  </a:cubicBezTo>
                  <a:cubicBezTo>
                    <a:pt x="55754" y="1354939"/>
                    <a:pt x="51161" y="1358767"/>
                    <a:pt x="51161" y="1358767"/>
                  </a:cubicBezTo>
                  <a:cubicBezTo>
                    <a:pt x="48354" y="1359277"/>
                    <a:pt x="50013" y="1362084"/>
                    <a:pt x="51161" y="1362084"/>
                  </a:cubicBezTo>
                  <a:cubicBezTo>
                    <a:pt x="51671" y="1362595"/>
                    <a:pt x="51671" y="1365401"/>
                    <a:pt x="51671" y="1365401"/>
                  </a:cubicBezTo>
                  <a:cubicBezTo>
                    <a:pt x="50013" y="1366550"/>
                    <a:pt x="49375" y="1368718"/>
                    <a:pt x="49375" y="1368718"/>
                  </a:cubicBezTo>
                  <a:cubicBezTo>
                    <a:pt x="48865" y="1368718"/>
                    <a:pt x="48227" y="1370887"/>
                    <a:pt x="48227" y="1372036"/>
                  </a:cubicBezTo>
                  <a:lnTo>
                    <a:pt x="48227" y="1373184"/>
                  </a:lnTo>
                  <a:cubicBezTo>
                    <a:pt x="47716" y="1374842"/>
                    <a:pt x="41975" y="1374842"/>
                    <a:pt x="41975" y="1374842"/>
                  </a:cubicBezTo>
                  <a:cubicBezTo>
                    <a:pt x="38530" y="1374842"/>
                    <a:pt x="36872" y="1376501"/>
                    <a:pt x="36872" y="1376501"/>
                  </a:cubicBezTo>
                  <a:cubicBezTo>
                    <a:pt x="35723" y="1376501"/>
                    <a:pt x="35723" y="1377649"/>
                    <a:pt x="35213" y="1378160"/>
                  </a:cubicBezTo>
                  <a:lnTo>
                    <a:pt x="35723" y="1378160"/>
                  </a:lnTo>
                  <a:cubicBezTo>
                    <a:pt x="35213" y="1379308"/>
                    <a:pt x="35213" y="1380966"/>
                    <a:pt x="35723" y="1381987"/>
                  </a:cubicBezTo>
                  <a:cubicBezTo>
                    <a:pt x="38530" y="1383646"/>
                    <a:pt x="40189" y="1385815"/>
                    <a:pt x="40189" y="1385815"/>
                  </a:cubicBezTo>
                  <a:cubicBezTo>
                    <a:pt x="45292" y="1385815"/>
                    <a:pt x="44654" y="1390280"/>
                    <a:pt x="44654" y="1390280"/>
                  </a:cubicBezTo>
                  <a:cubicBezTo>
                    <a:pt x="44654" y="1390280"/>
                    <a:pt x="45803" y="1391428"/>
                    <a:pt x="46951" y="1391939"/>
                  </a:cubicBezTo>
                  <a:cubicBezTo>
                    <a:pt x="47461" y="1392449"/>
                    <a:pt x="48099" y="1393087"/>
                    <a:pt x="48609" y="1393597"/>
                  </a:cubicBezTo>
                  <a:lnTo>
                    <a:pt x="58816" y="1393597"/>
                  </a:lnTo>
                  <a:cubicBezTo>
                    <a:pt x="61623" y="1395766"/>
                    <a:pt x="62261" y="1393087"/>
                    <a:pt x="62771" y="1393087"/>
                  </a:cubicBezTo>
                  <a:lnTo>
                    <a:pt x="69533" y="1393087"/>
                  </a:lnTo>
                  <a:cubicBezTo>
                    <a:pt x="68385" y="1389770"/>
                    <a:pt x="71830" y="1389770"/>
                    <a:pt x="71830" y="1389770"/>
                  </a:cubicBezTo>
                  <a:lnTo>
                    <a:pt x="83057" y="1388622"/>
                  </a:lnTo>
                  <a:lnTo>
                    <a:pt x="85864" y="1388111"/>
                  </a:lnTo>
                  <a:cubicBezTo>
                    <a:pt x="84205" y="1385942"/>
                    <a:pt x="93136" y="1384284"/>
                    <a:pt x="93136" y="1384284"/>
                  </a:cubicBezTo>
                  <a:cubicBezTo>
                    <a:pt x="91988" y="1382625"/>
                    <a:pt x="99898" y="1382625"/>
                    <a:pt x="99898" y="1382625"/>
                  </a:cubicBezTo>
                  <a:cubicBezTo>
                    <a:pt x="102705" y="1382625"/>
                    <a:pt x="110615" y="1372674"/>
                    <a:pt x="110615" y="1372674"/>
                  </a:cubicBezTo>
                  <a:lnTo>
                    <a:pt x="110615" y="1369867"/>
                  </a:lnTo>
                  <a:lnTo>
                    <a:pt x="112912" y="1364253"/>
                  </a:lnTo>
                  <a:cubicBezTo>
                    <a:pt x="120822" y="1358639"/>
                    <a:pt x="121970" y="1366422"/>
                    <a:pt x="121970" y="1366422"/>
                  </a:cubicBezTo>
                  <a:cubicBezTo>
                    <a:pt x="126436" y="1368591"/>
                    <a:pt x="131029" y="1362595"/>
                    <a:pt x="131029" y="1362595"/>
                  </a:cubicBezTo>
                  <a:cubicBezTo>
                    <a:pt x="131029" y="1362595"/>
                    <a:pt x="142894" y="1362084"/>
                    <a:pt x="142894" y="1360936"/>
                  </a:cubicBezTo>
                  <a:cubicBezTo>
                    <a:pt x="146849" y="1362084"/>
                    <a:pt x="150294" y="1366550"/>
                    <a:pt x="150294" y="1366550"/>
                  </a:cubicBezTo>
                  <a:lnTo>
                    <a:pt x="150294" y="1368208"/>
                  </a:lnTo>
                  <a:cubicBezTo>
                    <a:pt x="150294" y="1368208"/>
                    <a:pt x="153738" y="1373184"/>
                    <a:pt x="153738" y="1372674"/>
                  </a:cubicBezTo>
                  <a:cubicBezTo>
                    <a:pt x="156035" y="1373184"/>
                    <a:pt x="154887" y="1377139"/>
                    <a:pt x="154887" y="1378287"/>
                  </a:cubicBezTo>
                  <a:cubicBezTo>
                    <a:pt x="153738" y="1378287"/>
                    <a:pt x="153738" y="1387218"/>
                    <a:pt x="153228" y="1387218"/>
                  </a:cubicBezTo>
                  <a:cubicBezTo>
                    <a:pt x="154887" y="1387218"/>
                    <a:pt x="156673" y="1388877"/>
                    <a:pt x="156673" y="1388877"/>
                  </a:cubicBezTo>
                  <a:cubicBezTo>
                    <a:pt x="160118" y="1388877"/>
                    <a:pt x="162924" y="1389387"/>
                    <a:pt x="164583" y="1389387"/>
                  </a:cubicBezTo>
                  <a:cubicBezTo>
                    <a:pt x="165731" y="1389387"/>
                    <a:pt x="166242" y="1389897"/>
                    <a:pt x="166242" y="1389897"/>
                  </a:cubicBezTo>
                  <a:cubicBezTo>
                    <a:pt x="166752" y="1394873"/>
                    <a:pt x="171345" y="1387091"/>
                    <a:pt x="171345" y="1387091"/>
                  </a:cubicBezTo>
                  <a:lnTo>
                    <a:pt x="175810" y="1383773"/>
                  </a:lnTo>
                  <a:cubicBezTo>
                    <a:pt x="180276" y="1382115"/>
                    <a:pt x="182572" y="1385432"/>
                    <a:pt x="182572" y="1384284"/>
                  </a:cubicBezTo>
                  <a:cubicBezTo>
                    <a:pt x="194438" y="1384284"/>
                    <a:pt x="197755" y="1387091"/>
                    <a:pt x="197755" y="1387091"/>
                  </a:cubicBezTo>
                  <a:lnTo>
                    <a:pt x="200562" y="1388239"/>
                  </a:lnTo>
                  <a:cubicBezTo>
                    <a:pt x="202220" y="1390408"/>
                    <a:pt x="204006" y="1388239"/>
                    <a:pt x="204006" y="1388239"/>
                  </a:cubicBezTo>
                  <a:lnTo>
                    <a:pt x="213575" y="1387091"/>
                  </a:lnTo>
                  <a:lnTo>
                    <a:pt x="217020" y="1380966"/>
                  </a:lnTo>
                  <a:lnTo>
                    <a:pt x="224420" y="1380966"/>
                  </a:lnTo>
                  <a:lnTo>
                    <a:pt x="228885" y="1382625"/>
                  </a:lnTo>
                  <a:lnTo>
                    <a:pt x="231182" y="1384284"/>
                  </a:lnTo>
                  <a:lnTo>
                    <a:pt x="233989" y="1384284"/>
                  </a:lnTo>
                  <a:lnTo>
                    <a:pt x="239092" y="1380966"/>
                  </a:lnTo>
                  <a:lnTo>
                    <a:pt x="239092" y="1372674"/>
                  </a:lnTo>
                  <a:cubicBezTo>
                    <a:pt x="239092" y="1371525"/>
                    <a:pt x="242537" y="1368846"/>
                    <a:pt x="242537" y="1368846"/>
                  </a:cubicBezTo>
                  <a:cubicBezTo>
                    <a:pt x="242537" y="1368846"/>
                    <a:pt x="256061" y="1368336"/>
                    <a:pt x="254912" y="1368336"/>
                  </a:cubicBezTo>
                  <a:cubicBezTo>
                    <a:pt x="254402" y="1361063"/>
                    <a:pt x="260526" y="1363870"/>
                    <a:pt x="260526" y="1362722"/>
                  </a:cubicBezTo>
                  <a:cubicBezTo>
                    <a:pt x="260526" y="1359405"/>
                    <a:pt x="264481" y="1361063"/>
                    <a:pt x="264481" y="1361063"/>
                  </a:cubicBezTo>
                  <a:cubicBezTo>
                    <a:pt x="264481" y="1363870"/>
                    <a:pt x="268436" y="1361063"/>
                    <a:pt x="268436" y="1361063"/>
                  </a:cubicBezTo>
                  <a:cubicBezTo>
                    <a:pt x="268436" y="1356598"/>
                    <a:pt x="276346" y="1356598"/>
                    <a:pt x="276346" y="1356088"/>
                  </a:cubicBezTo>
                  <a:cubicBezTo>
                    <a:pt x="276857" y="1351622"/>
                    <a:pt x="278005" y="1351112"/>
                    <a:pt x="278643" y="1349964"/>
                  </a:cubicBezTo>
                  <a:cubicBezTo>
                    <a:pt x="280939" y="1348305"/>
                    <a:pt x="282598" y="1346647"/>
                    <a:pt x="282598" y="1346647"/>
                  </a:cubicBezTo>
                  <a:cubicBezTo>
                    <a:pt x="292805" y="1345498"/>
                    <a:pt x="291019" y="1348305"/>
                    <a:pt x="291019" y="1348305"/>
                  </a:cubicBezTo>
                  <a:cubicBezTo>
                    <a:pt x="293825" y="1347157"/>
                    <a:pt x="293825" y="1354429"/>
                    <a:pt x="293825" y="1354429"/>
                  </a:cubicBezTo>
                  <a:cubicBezTo>
                    <a:pt x="295484" y="1358894"/>
                    <a:pt x="298291" y="1354429"/>
                    <a:pt x="298291" y="1354429"/>
                  </a:cubicBezTo>
                  <a:cubicBezTo>
                    <a:pt x="297143" y="1352771"/>
                    <a:pt x="301736" y="1352771"/>
                    <a:pt x="301736" y="1351622"/>
                  </a:cubicBezTo>
                  <a:lnTo>
                    <a:pt x="304032" y="1349964"/>
                  </a:lnTo>
                  <a:cubicBezTo>
                    <a:pt x="310284" y="1351112"/>
                    <a:pt x="310284" y="1352771"/>
                    <a:pt x="311304" y="1352771"/>
                  </a:cubicBezTo>
                  <a:cubicBezTo>
                    <a:pt x="312453" y="1356088"/>
                    <a:pt x="314749" y="1352771"/>
                    <a:pt x="314749" y="1352771"/>
                  </a:cubicBezTo>
                  <a:cubicBezTo>
                    <a:pt x="322021" y="1351622"/>
                    <a:pt x="324318" y="1354429"/>
                    <a:pt x="325466" y="1354429"/>
                  </a:cubicBezTo>
                  <a:cubicBezTo>
                    <a:pt x="328273" y="1354939"/>
                    <a:pt x="325466" y="1358894"/>
                    <a:pt x="325466" y="1358894"/>
                  </a:cubicBezTo>
                  <a:lnTo>
                    <a:pt x="325466" y="1366677"/>
                  </a:lnTo>
                  <a:cubicBezTo>
                    <a:pt x="325466" y="1368336"/>
                    <a:pt x="330570" y="1370632"/>
                    <a:pt x="330570" y="1370632"/>
                  </a:cubicBezTo>
                  <a:cubicBezTo>
                    <a:pt x="332228" y="1370632"/>
                    <a:pt x="333376" y="1373439"/>
                    <a:pt x="332228" y="1373439"/>
                  </a:cubicBezTo>
                  <a:lnTo>
                    <a:pt x="333376" y="1373439"/>
                  </a:lnTo>
                  <a:cubicBezTo>
                    <a:pt x="336183" y="1374587"/>
                    <a:pt x="340138" y="1379563"/>
                    <a:pt x="340138" y="1379563"/>
                  </a:cubicBezTo>
                  <a:cubicBezTo>
                    <a:pt x="355321" y="1377905"/>
                    <a:pt x="354300" y="1381222"/>
                    <a:pt x="354300" y="1381222"/>
                  </a:cubicBezTo>
                  <a:lnTo>
                    <a:pt x="361700" y="1381222"/>
                  </a:lnTo>
                  <a:cubicBezTo>
                    <a:pt x="362210" y="1387346"/>
                    <a:pt x="366165" y="1378415"/>
                    <a:pt x="366165" y="1378415"/>
                  </a:cubicBezTo>
                  <a:cubicBezTo>
                    <a:pt x="366165" y="1378415"/>
                    <a:pt x="368462" y="1375098"/>
                    <a:pt x="368462" y="1374587"/>
                  </a:cubicBezTo>
                  <a:cubicBezTo>
                    <a:pt x="371269" y="1374587"/>
                    <a:pt x="373565" y="1376756"/>
                    <a:pt x="374076" y="1376756"/>
                  </a:cubicBezTo>
                  <a:cubicBezTo>
                    <a:pt x="375734" y="1376756"/>
                    <a:pt x="376372" y="1378415"/>
                    <a:pt x="376372" y="1378415"/>
                  </a:cubicBezTo>
                  <a:lnTo>
                    <a:pt x="379179" y="1380584"/>
                  </a:lnTo>
                  <a:cubicBezTo>
                    <a:pt x="379179" y="1380584"/>
                    <a:pt x="381986" y="1381094"/>
                    <a:pt x="382624" y="1380584"/>
                  </a:cubicBezTo>
                  <a:cubicBezTo>
                    <a:pt x="385431" y="1385559"/>
                    <a:pt x="386579" y="1380584"/>
                    <a:pt x="386579" y="1380584"/>
                  </a:cubicBezTo>
                  <a:cubicBezTo>
                    <a:pt x="390024" y="1379435"/>
                    <a:pt x="394489" y="1379435"/>
                    <a:pt x="394489" y="1378415"/>
                  </a:cubicBezTo>
                  <a:cubicBezTo>
                    <a:pt x="399592" y="1379563"/>
                    <a:pt x="401761" y="1376246"/>
                    <a:pt x="401761" y="1376756"/>
                  </a:cubicBezTo>
                  <a:cubicBezTo>
                    <a:pt x="405716" y="1376756"/>
                    <a:pt x="408013" y="1376246"/>
                    <a:pt x="408013" y="1376246"/>
                  </a:cubicBezTo>
                  <a:cubicBezTo>
                    <a:pt x="415285" y="1376246"/>
                    <a:pt x="410820" y="1371781"/>
                    <a:pt x="410820" y="1370632"/>
                  </a:cubicBezTo>
                  <a:cubicBezTo>
                    <a:pt x="409671" y="1368463"/>
                    <a:pt x="404058" y="1372801"/>
                    <a:pt x="404058" y="1372801"/>
                  </a:cubicBezTo>
                  <a:lnTo>
                    <a:pt x="398444" y="1368336"/>
                  </a:lnTo>
                  <a:lnTo>
                    <a:pt x="396786" y="1362722"/>
                  </a:lnTo>
                  <a:lnTo>
                    <a:pt x="401889" y="1357746"/>
                  </a:lnTo>
                  <a:cubicBezTo>
                    <a:pt x="401889" y="1357746"/>
                    <a:pt x="406354" y="1354939"/>
                    <a:pt x="405844" y="1353281"/>
                  </a:cubicBezTo>
                  <a:cubicBezTo>
                    <a:pt x="406354" y="1351622"/>
                    <a:pt x="412096" y="1352771"/>
                    <a:pt x="412606" y="1351622"/>
                  </a:cubicBezTo>
                  <a:cubicBezTo>
                    <a:pt x="412606" y="1348815"/>
                    <a:pt x="420006" y="1349964"/>
                    <a:pt x="420006" y="1349964"/>
                  </a:cubicBezTo>
                  <a:lnTo>
                    <a:pt x="420006" y="1346647"/>
                  </a:lnTo>
                  <a:lnTo>
                    <a:pt x="427916" y="1346136"/>
                  </a:lnTo>
                  <a:lnTo>
                    <a:pt x="432381" y="1342309"/>
                  </a:lnTo>
                  <a:cubicBezTo>
                    <a:pt x="432381" y="1342309"/>
                    <a:pt x="432892" y="1343457"/>
                    <a:pt x="432892" y="1343457"/>
                  </a:cubicBezTo>
                  <a:cubicBezTo>
                    <a:pt x="436336" y="1343457"/>
                    <a:pt x="436336" y="1346774"/>
                    <a:pt x="436336" y="1345626"/>
                  </a:cubicBezTo>
                  <a:cubicBezTo>
                    <a:pt x="440802" y="1345626"/>
                    <a:pt x="442588" y="1347284"/>
                    <a:pt x="442588" y="1347284"/>
                  </a:cubicBezTo>
                  <a:cubicBezTo>
                    <a:pt x="444247" y="1350091"/>
                    <a:pt x="445395" y="1352898"/>
                    <a:pt x="445395" y="1352898"/>
                  </a:cubicBezTo>
                  <a:cubicBezTo>
                    <a:pt x="447054" y="1356215"/>
                    <a:pt x="444247" y="1358512"/>
                    <a:pt x="444247" y="1359022"/>
                  </a:cubicBezTo>
                  <a:cubicBezTo>
                    <a:pt x="444247" y="1359022"/>
                    <a:pt x="440292" y="1360681"/>
                    <a:pt x="442588" y="1362850"/>
                  </a:cubicBezTo>
                  <a:cubicBezTo>
                    <a:pt x="443736" y="1362850"/>
                    <a:pt x="447054" y="1364508"/>
                    <a:pt x="447054" y="1364508"/>
                  </a:cubicBezTo>
                  <a:lnTo>
                    <a:pt x="452157" y="1364508"/>
                  </a:lnTo>
                  <a:lnTo>
                    <a:pt x="453305" y="1366167"/>
                  </a:lnTo>
                  <a:lnTo>
                    <a:pt x="453305" y="1366677"/>
                  </a:lnTo>
                  <a:cubicBezTo>
                    <a:pt x="453815" y="1368846"/>
                    <a:pt x="456750" y="1367825"/>
                    <a:pt x="456750" y="1367825"/>
                  </a:cubicBezTo>
                  <a:cubicBezTo>
                    <a:pt x="460195" y="1366677"/>
                    <a:pt x="456750" y="1364508"/>
                    <a:pt x="456750" y="1364508"/>
                  </a:cubicBezTo>
                  <a:cubicBezTo>
                    <a:pt x="456750" y="1364508"/>
                    <a:pt x="458408" y="1362339"/>
                    <a:pt x="458408" y="1361191"/>
                  </a:cubicBezTo>
                  <a:cubicBezTo>
                    <a:pt x="458919" y="1361191"/>
                    <a:pt x="460705" y="1357874"/>
                    <a:pt x="460705" y="1356726"/>
                  </a:cubicBezTo>
                  <a:cubicBezTo>
                    <a:pt x="465170" y="1354557"/>
                    <a:pt x="461215" y="1352260"/>
                    <a:pt x="461215" y="1351112"/>
                  </a:cubicBezTo>
                  <a:cubicBezTo>
                    <a:pt x="461726" y="1348943"/>
                    <a:pt x="458919" y="1347795"/>
                    <a:pt x="458919" y="1347284"/>
                  </a:cubicBezTo>
                  <a:cubicBezTo>
                    <a:pt x="458408" y="1341160"/>
                    <a:pt x="460577" y="1339502"/>
                    <a:pt x="461215" y="1337843"/>
                  </a:cubicBezTo>
                  <a:lnTo>
                    <a:pt x="465170" y="1336695"/>
                  </a:lnTo>
                  <a:cubicBezTo>
                    <a:pt x="465170" y="1336695"/>
                    <a:pt x="464022" y="1339502"/>
                    <a:pt x="464022" y="1340012"/>
                  </a:cubicBezTo>
                  <a:lnTo>
                    <a:pt x="470274" y="1340012"/>
                  </a:lnTo>
                  <a:cubicBezTo>
                    <a:pt x="470274" y="1340012"/>
                    <a:pt x="471932" y="1337205"/>
                    <a:pt x="471932" y="1336695"/>
                  </a:cubicBezTo>
                  <a:cubicBezTo>
                    <a:pt x="473081" y="1335547"/>
                    <a:pt x="473081" y="1336185"/>
                    <a:pt x="473081" y="1335036"/>
                  </a:cubicBezTo>
                  <a:cubicBezTo>
                    <a:pt x="474739" y="1331719"/>
                    <a:pt x="471422" y="1328402"/>
                    <a:pt x="471422" y="1328402"/>
                  </a:cubicBezTo>
                  <a:cubicBezTo>
                    <a:pt x="471422" y="1328402"/>
                    <a:pt x="470274" y="1327892"/>
                    <a:pt x="466957" y="1324447"/>
                  </a:cubicBezTo>
                  <a:cubicBezTo>
                    <a:pt x="466957" y="1324447"/>
                    <a:pt x="463001" y="1321130"/>
                    <a:pt x="463512" y="1319981"/>
                  </a:cubicBezTo>
                  <a:lnTo>
                    <a:pt x="463512" y="1315516"/>
                  </a:lnTo>
                  <a:cubicBezTo>
                    <a:pt x="460705" y="1315516"/>
                    <a:pt x="458408" y="1318323"/>
                    <a:pt x="458408" y="1318323"/>
                  </a:cubicBezTo>
                  <a:cubicBezTo>
                    <a:pt x="458919" y="1319981"/>
                    <a:pt x="453943" y="1321130"/>
                    <a:pt x="453943" y="1321130"/>
                  </a:cubicBezTo>
                  <a:cubicBezTo>
                    <a:pt x="447691" y="1325595"/>
                    <a:pt x="446543" y="1319981"/>
                    <a:pt x="446543" y="1319981"/>
                  </a:cubicBezTo>
                  <a:cubicBezTo>
                    <a:pt x="443098" y="1316664"/>
                    <a:pt x="439781" y="1319471"/>
                    <a:pt x="439781" y="1319471"/>
                  </a:cubicBezTo>
                  <a:cubicBezTo>
                    <a:pt x="439781" y="1321130"/>
                    <a:pt x="433019" y="1319981"/>
                    <a:pt x="433019" y="1319981"/>
                  </a:cubicBezTo>
                  <a:lnTo>
                    <a:pt x="431361" y="1322788"/>
                  </a:lnTo>
                  <a:cubicBezTo>
                    <a:pt x="426895" y="1321130"/>
                    <a:pt x="429064" y="1329423"/>
                    <a:pt x="429064" y="1329423"/>
                  </a:cubicBezTo>
                  <a:cubicBezTo>
                    <a:pt x="433019" y="1331081"/>
                    <a:pt x="429064" y="1333250"/>
                    <a:pt x="429064" y="1332230"/>
                  </a:cubicBezTo>
                  <a:cubicBezTo>
                    <a:pt x="427406" y="1337205"/>
                    <a:pt x="425109" y="1332230"/>
                    <a:pt x="425109" y="1332230"/>
                  </a:cubicBezTo>
                  <a:lnTo>
                    <a:pt x="411585" y="1332230"/>
                  </a:lnTo>
                  <a:cubicBezTo>
                    <a:pt x="406482" y="1332230"/>
                    <a:pt x="405334" y="1331081"/>
                    <a:pt x="405334" y="1331081"/>
                  </a:cubicBezTo>
                  <a:cubicBezTo>
                    <a:pt x="403037" y="1329423"/>
                    <a:pt x="403037" y="1334909"/>
                    <a:pt x="403037" y="1333888"/>
                  </a:cubicBezTo>
                  <a:cubicBezTo>
                    <a:pt x="403037" y="1335547"/>
                    <a:pt x="400230" y="1333888"/>
                    <a:pt x="400230" y="1333378"/>
                  </a:cubicBezTo>
                  <a:cubicBezTo>
                    <a:pt x="399082" y="1329550"/>
                    <a:pt x="403037" y="1329550"/>
                    <a:pt x="403037" y="1329550"/>
                  </a:cubicBezTo>
                  <a:cubicBezTo>
                    <a:pt x="403037" y="1324574"/>
                    <a:pt x="399082" y="1327892"/>
                    <a:pt x="399082" y="1327892"/>
                  </a:cubicBezTo>
                  <a:cubicBezTo>
                    <a:pt x="398572" y="1329550"/>
                    <a:pt x="395637" y="1327892"/>
                    <a:pt x="395637" y="1327892"/>
                  </a:cubicBezTo>
                  <a:cubicBezTo>
                    <a:pt x="395637" y="1323426"/>
                    <a:pt x="392193" y="1327892"/>
                    <a:pt x="392193" y="1327892"/>
                  </a:cubicBezTo>
                  <a:lnTo>
                    <a:pt x="392193" y="1328402"/>
                  </a:lnTo>
                  <a:cubicBezTo>
                    <a:pt x="392193" y="1328402"/>
                    <a:pt x="389386" y="1326743"/>
                    <a:pt x="388748" y="1326233"/>
                  </a:cubicBezTo>
                  <a:cubicBezTo>
                    <a:pt x="388748" y="1322916"/>
                    <a:pt x="384793" y="1319599"/>
                    <a:pt x="384793" y="1319599"/>
                  </a:cubicBezTo>
                  <a:cubicBezTo>
                    <a:pt x="378031" y="1319599"/>
                    <a:pt x="376882" y="1316792"/>
                    <a:pt x="376882" y="1316792"/>
                  </a:cubicBezTo>
                  <a:cubicBezTo>
                    <a:pt x="371779" y="1312326"/>
                    <a:pt x="379179" y="1310668"/>
                    <a:pt x="379179" y="1310668"/>
                  </a:cubicBezTo>
                  <a:cubicBezTo>
                    <a:pt x="387089" y="1309009"/>
                    <a:pt x="376882" y="1302885"/>
                    <a:pt x="376882" y="1302885"/>
                  </a:cubicBezTo>
                  <a:cubicBezTo>
                    <a:pt x="371779" y="1299568"/>
                    <a:pt x="375224" y="1295613"/>
                    <a:pt x="376882" y="1295613"/>
                  </a:cubicBezTo>
                  <a:cubicBezTo>
                    <a:pt x="378031" y="1295103"/>
                    <a:pt x="382496" y="1290637"/>
                    <a:pt x="382496" y="1290637"/>
                  </a:cubicBezTo>
                  <a:cubicBezTo>
                    <a:pt x="383006" y="1288979"/>
                    <a:pt x="388748" y="1287320"/>
                    <a:pt x="387600" y="1287320"/>
                  </a:cubicBezTo>
                  <a:cubicBezTo>
                    <a:pt x="388748" y="1285662"/>
                    <a:pt x="392065" y="1285662"/>
                    <a:pt x="392065" y="1285662"/>
                  </a:cubicBezTo>
                  <a:cubicBezTo>
                    <a:pt x="393724" y="1282855"/>
                    <a:pt x="397168" y="1282855"/>
                    <a:pt x="397168" y="1282855"/>
                  </a:cubicBezTo>
                  <a:cubicBezTo>
                    <a:pt x="398827" y="1279537"/>
                    <a:pt x="395510" y="1276220"/>
                    <a:pt x="396658" y="1276220"/>
                  </a:cubicBezTo>
                  <a:cubicBezTo>
                    <a:pt x="394999" y="1272393"/>
                    <a:pt x="398317" y="1271755"/>
                    <a:pt x="398317" y="1270607"/>
                  </a:cubicBezTo>
                  <a:cubicBezTo>
                    <a:pt x="396658" y="1263972"/>
                    <a:pt x="402782" y="1265631"/>
                    <a:pt x="402782" y="1264483"/>
                  </a:cubicBezTo>
                  <a:cubicBezTo>
                    <a:pt x="405078" y="1262314"/>
                    <a:pt x="403292" y="1258358"/>
                    <a:pt x="403292" y="1258358"/>
                  </a:cubicBezTo>
                  <a:lnTo>
                    <a:pt x="410565" y="1252234"/>
                  </a:lnTo>
                  <a:cubicBezTo>
                    <a:pt x="412861" y="1248917"/>
                    <a:pt x="414009" y="1252234"/>
                    <a:pt x="414009" y="1251724"/>
                  </a:cubicBezTo>
                  <a:cubicBezTo>
                    <a:pt x="414009" y="1253383"/>
                    <a:pt x="416816" y="1252234"/>
                    <a:pt x="416816" y="1252234"/>
                  </a:cubicBezTo>
                  <a:cubicBezTo>
                    <a:pt x="416816" y="1250576"/>
                    <a:pt x="418475" y="1250066"/>
                    <a:pt x="418475" y="1250066"/>
                  </a:cubicBezTo>
                  <a:cubicBezTo>
                    <a:pt x="418985" y="1250576"/>
                    <a:pt x="424726" y="1250576"/>
                    <a:pt x="424726" y="1250576"/>
                  </a:cubicBezTo>
                  <a:cubicBezTo>
                    <a:pt x="424726" y="1253383"/>
                    <a:pt x="427023" y="1252234"/>
                    <a:pt x="427023" y="1252234"/>
                  </a:cubicBezTo>
                  <a:cubicBezTo>
                    <a:pt x="428171" y="1250066"/>
                    <a:pt x="431488" y="1248917"/>
                    <a:pt x="431488" y="1248917"/>
                  </a:cubicBezTo>
                  <a:cubicBezTo>
                    <a:pt x="430978" y="1246110"/>
                    <a:pt x="436592" y="1246110"/>
                    <a:pt x="436592" y="1246110"/>
                  </a:cubicBezTo>
                  <a:cubicBezTo>
                    <a:pt x="436592" y="1243942"/>
                    <a:pt x="442843" y="1244452"/>
                    <a:pt x="442843" y="1244452"/>
                  </a:cubicBezTo>
                  <a:cubicBezTo>
                    <a:pt x="446288" y="1244452"/>
                    <a:pt x="446288" y="1248917"/>
                    <a:pt x="446288" y="1248279"/>
                  </a:cubicBezTo>
                  <a:cubicBezTo>
                    <a:pt x="448585" y="1248790"/>
                    <a:pt x="450243" y="1246110"/>
                    <a:pt x="450243" y="1246110"/>
                  </a:cubicBezTo>
                  <a:cubicBezTo>
                    <a:pt x="455346" y="1248917"/>
                    <a:pt x="450243" y="1240497"/>
                    <a:pt x="450243" y="1240497"/>
                  </a:cubicBezTo>
                  <a:cubicBezTo>
                    <a:pt x="445778" y="1241007"/>
                    <a:pt x="445778" y="1234883"/>
                    <a:pt x="445778" y="1234373"/>
                  </a:cubicBezTo>
                  <a:cubicBezTo>
                    <a:pt x="445778" y="1228759"/>
                    <a:pt x="448585" y="1231056"/>
                    <a:pt x="448585" y="1231056"/>
                  </a:cubicBezTo>
                  <a:cubicBezTo>
                    <a:pt x="451391" y="1232714"/>
                    <a:pt x="452029" y="1233225"/>
                    <a:pt x="452029" y="1233225"/>
                  </a:cubicBezTo>
                  <a:lnTo>
                    <a:pt x="454836" y="1233225"/>
                  </a:lnTo>
                  <a:cubicBezTo>
                    <a:pt x="456495" y="1230418"/>
                    <a:pt x="458281" y="1233225"/>
                    <a:pt x="457133" y="1233225"/>
                  </a:cubicBezTo>
                  <a:cubicBezTo>
                    <a:pt x="457133" y="1239349"/>
                    <a:pt x="459940" y="1234373"/>
                    <a:pt x="459940" y="1234373"/>
                  </a:cubicBezTo>
                  <a:cubicBezTo>
                    <a:pt x="463384" y="1230545"/>
                    <a:pt x="464405" y="1233225"/>
                    <a:pt x="464405" y="1233225"/>
                  </a:cubicBezTo>
                  <a:cubicBezTo>
                    <a:pt x="473974" y="1232714"/>
                    <a:pt x="470657" y="1236031"/>
                    <a:pt x="470657" y="1236031"/>
                  </a:cubicBezTo>
                  <a:cubicBezTo>
                    <a:pt x="466701" y="1239349"/>
                    <a:pt x="470657" y="1239349"/>
                    <a:pt x="470657" y="1239349"/>
                  </a:cubicBezTo>
                  <a:cubicBezTo>
                    <a:pt x="472315" y="1242666"/>
                    <a:pt x="469508" y="1244324"/>
                    <a:pt x="469508" y="1244324"/>
                  </a:cubicBezTo>
                  <a:cubicBezTo>
                    <a:pt x="467850" y="1244324"/>
                    <a:pt x="469508" y="1248790"/>
                    <a:pt x="469508" y="1248790"/>
                  </a:cubicBezTo>
                  <a:cubicBezTo>
                    <a:pt x="471805" y="1248279"/>
                    <a:pt x="471805" y="1249938"/>
                    <a:pt x="471167" y="1252107"/>
                  </a:cubicBezTo>
                  <a:cubicBezTo>
                    <a:pt x="471167" y="1253766"/>
                    <a:pt x="470657" y="1256572"/>
                    <a:pt x="470657" y="1256572"/>
                  </a:cubicBezTo>
                  <a:cubicBezTo>
                    <a:pt x="474101" y="1256062"/>
                    <a:pt x="474101" y="1260528"/>
                    <a:pt x="474101" y="1260528"/>
                  </a:cubicBezTo>
                  <a:cubicBezTo>
                    <a:pt x="474101" y="1265503"/>
                    <a:pt x="477546" y="1261038"/>
                    <a:pt x="477546" y="1260528"/>
                  </a:cubicBezTo>
                  <a:cubicBezTo>
                    <a:pt x="476398" y="1256062"/>
                    <a:pt x="480353" y="1256572"/>
                    <a:pt x="480353" y="1256572"/>
                  </a:cubicBezTo>
                  <a:cubicBezTo>
                    <a:pt x="482011" y="1261038"/>
                    <a:pt x="480863" y="1256062"/>
                    <a:pt x="483798" y="1256572"/>
                  </a:cubicBezTo>
                  <a:cubicBezTo>
                    <a:pt x="483798" y="1257083"/>
                    <a:pt x="484308" y="1256572"/>
                    <a:pt x="484308" y="1256572"/>
                  </a:cubicBezTo>
                  <a:cubicBezTo>
                    <a:pt x="484818" y="1256062"/>
                    <a:pt x="483798" y="1253255"/>
                    <a:pt x="483798" y="1253255"/>
                  </a:cubicBezTo>
                  <a:cubicBezTo>
                    <a:pt x="488263" y="1253255"/>
                    <a:pt x="483798" y="1250448"/>
                    <a:pt x="483798" y="1250448"/>
                  </a:cubicBezTo>
                  <a:lnTo>
                    <a:pt x="483798" y="1242666"/>
                  </a:lnTo>
                  <a:cubicBezTo>
                    <a:pt x="479332" y="1242155"/>
                    <a:pt x="483798" y="1240497"/>
                    <a:pt x="483798" y="1240497"/>
                  </a:cubicBezTo>
                  <a:lnTo>
                    <a:pt x="483798" y="1236031"/>
                  </a:lnTo>
                  <a:cubicBezTo>
                    <a:pt x="485456" y="1231566"/>
                    <a:pt x="488263" y="1236031"/>
                    <a:pt x="488263" y="1236031"/>
                  </a:cubicBezTo>
                  <a:cubicBezTo>
                    <a:pt x="490560" y="1236542"/>
                    <a:pt x="489922" y="1239349"/>
                    <a:pt x="489922" y="1239349"/>
                  </a:cubicBezTo>
                  <a:cubicBezTo>
                    <a:pt x="483670" y="1239349"/>
                    <a:pt x="490432" y="1242155"/>
                    <a:pt x="490432" y="1242155"/>
                  </a:cubicBezTo>
                  <a:cubicBezTo>
                    <a:pt x="493239" y="1242155"/>
                    <a:pt x="494387" y="1243814"/>
                    <a:pt x="494387" y="1243814"/>
                  </a:cubicBezTo>
                  <a:cubicBezTo>
                    <a:pt x="499490" y="1242666"/>
                    <a:pt x="498342" y="1249938"/>
                    <a:pt x="497832" y="1249938"/>
                  </a:cubicBezTo>
                  <a:cubicBezTo>
                    <a:pt x="500639" y="1249938"/>
                    <a:pt x="501277" y="1253255"/>
                    <a:pt x="500639" y="1252107"/>
                  </a:cubicBezTo>
                  <a:cubicBezTo>
                    <a:pt x="496684" y="1253766"/>
                    <a:pt x="500639" y="1255935"/>
                    <a:pt x="500639" y="1255935"/>
                  </a:cubicBezTo>
                  <a:lnTo>
                    <a:pt x="500639" y="1262569"/>
                  </a:lnTo>
                  <a:cubicBezTo>
                    <a:pt x="504083" y="1262569"/>
                    <a:pt x="504594" y="1264227"/>
                    <a:pt x="504594" y="1263717"/>
                  </a:cubicBezTo>
                  <a:cubicBezTo>
                    <a:pt x="504594" y="1259252"/>
                    <a:pt x="507401" y="1259252"/>
                    <a:pt x="508039" y="1259252"/>
                  </a:cubicBezTo>
                  <a:cubicBezTo>
                    <a:pt x="515949" y="1257593"/>
                    <a:pt x="518245" y="1259252"/>
                    <a:pt x="518245" y="1259252"/>
                  </a:cubicBezTo>
                  <a:cubicBezTo>
                    <a:pt x="518245" y="1259252"/>
                    <a:pt x="520542" y="1263717"/>
                    <a:pt x="520542" y="1264227"/>
                  </a:cubicBezTo>
                  <a:cubicBezTo>
                    <a:pt x="521307" y="1264993"/>
                    <a:pt x="522073" y="1265376"/>
                    <a:pt x="522838" y="1265376"/>
                  </a:cubicBezTo>
                  <a:cubicBezTo>
                    <a:pt x="525135" y="1265376"/>
                    <a:pt x="523349" y="1270351"/>
                    <a:pt x="523349" y="1270351"/>
                  </a:cubicBezTo>
                  <a:cubicBezTo>
                    <a:pt x="521690" y="1272010"/>
                    <a:pt x="518245" y="1271500"/>
                    <a:pt x="518245" y="1270351"/>
                  </a:cubicBezTo>
                  <a:cubicBezTo>
                    <a:pt x="516587" y="1271500"/>
                    <a:pt x="515438" y="1271500"/>
                    <a:pt x="515438" y="1272010"/>
                  </a:cubicBezTo>
                  <a:lnTo>
                    <a:pt x="514928" y="1272010"/>
                  </a:lnTo>
                  <a:lnTo>
                    <a:pt x="514928" y="1273669"/>
                  </a:lnTo>
                  <a:cubicBezTo>
                    <a:pt x="510463" y="1273669"/>
                    <a:pt x="513780" y="1277496"/>
                    <a:pt x="513780" y="1277496"/>
                  </a:cubicBezTo>
                  <a:cubicBezTo>
                    <a:pt x="513780" y="1277496"/>
                    <a:pt x="512121" y="1278006"/>
                    <a:pt x="510335" y="1279665"/>
                  </a:cubicBezTo>
                  <a:cubicBezTo>
                    <a:pt x="510335" y="1281324"/>
                    <a:pt x="507528" y="1282472"/>
                    <a:pt x="507528" y="1282472"/>
                  </a:cubicBezTo>
                  <a:cubicBezTo>
                    <a:pt x="507528" y="1285279"/>
                    <a:pt x="505870" y="1288596"/>
                    <a:pt x="505870" y="1288596"/>
                  </a:cubicBezTo>
                  <a:cubicBezTo>
                    <a:pt x="507018" y="1291403"/>
                    <a:pt x="501404" y="1291913"/>
                    <a:pt x="501404" y="1291913"/>
                  </a:cubicBezTo>
                  <a:cubicBezTo>
                    <a:pt x="501404" y="1295230"/>
                    <a:pt x="496301" y="1293572"/>
                    <a:pt x="496301" y="1293572"/>
                  </a:cubicBezTo>
                  <a:cubicBezTo>
                    <a:pt x="494642" y="1293572"/>
                    <a:pt x="494642" y="1295741"/>
                    <a:pt x="494642" y="1295741"/>
                  </a:cubicBezTo>
                  <a:lnTo>
                    <a:pt x="494642" y="1302375"/>
                  </a:lnTo>
                  <a:cubicBezTo>
                    <a:pt x="494642" y="1305182"/>
                    <a:pt x="488391" y="1304033"/>
                    <a:pt x="488391" y="1304033"/>
                  </a:cubicBezTo>
                  <a:cubicBezTo>
                    <a:pt x="488391" y="1304799"/>
                    <a:pt x="488008" y="1305182"/>
                    <a:pt x="487242" y="1305182"/>
                  </a:cubicBezTo>
                  <a:cubicBezTo>
                    <a:pt x="487242" y="1305182"/>
                    <a:pt x="488391" y="1306840"/>
                    <a:pt x="488391" y="1306840"/>
                  </a:cubicBezTo>
                  <a:cubicBezTo>
                    <a:pt x="488391" y="1307351"/>
                    <a:pt x="490687" y="1307351"/>
                    <a:pt x="491835" y="1308499"/>
                  </a:cubicBezTo>
                  <a:cubicBezTo>
                    <a:pt x="493494" y="1309009"/>
                    <a:pt x="495280" y="1307989"/>
                    <a:pt x="495280" y="1307989"/>
                  </a:cubicBezTo>
                  <a:lnTo>
                    <a:pt x="496939" y="1306840"/>
                  </a:lnTo>
                  <a:lnTo>
                    <a:pt x="498087" y="1305692"/>
                  </a:lnTo>
                  <a:cubicBezTo>
                    <a:pt x="500894" y="1299058"/>
                    <a:pt x="500384" y="1305182"/>
                    <a:pt x="500384" y="1305182"/>
                  </a:cubicBezTo>
                  <a:cubicBezTo>
                    <a:pt x="500894" y="1304033"/>
                    <a:pt x="502042" y="1303523"/>
                    <a:pt x="503190" y="1304033"/>
                  </a:cubicBezTo>
                  <a:lnTo>
                    <a:pt x="504339" y="1304033"/>
                  </a:lnTo>
                  <a:cubicBezTo>
                    <a:pt x="504339" y="1304033"/>
                    <a:pt x="504849" y="1304544"/>
                    <a:pt x="505487" y="1304544"/>
                  </a:cubicBezTo>
                  <a:lnTo>
                    <a:pt x="505997" y="1304544"/>
                  </a:lnTo>
                  <a:lnTo>
                    <a:pt x="506508" y="1305054"/>
                  </a:lnTo>
                  <a:cubicBezTo>
                    <a:pt x="506508" y="1305054"/>
                    <a:pt x="508166" y="1306202"/>
                    <a:pt x="508804" y="1306202"/>
                  </a:cubicBezTo>
                  <a:cubicBezTo>
                    <a:pt x="510463" y="1306713"/>
                    <a:pt x="512249" y="1305054"/>
                    <a:pt x="512759" y="1305054"/>
                  </a:cubicBezTo>
                  <a:cubicBezTo>
                    <a:pt x="513270" y="1305054"/>
                    <a:pt x="515566" y="1305054"/>
                    <a:pt x="517225" y="1303906"/>
                  </a:cubicBezTo>
                  <a:cubicBezTo>
                    <a:pt x="518883" y="1303906"/>
                    <a:pt x="519521" y="1305565"/>
                    <a:pt x="519521" y="1305565"/>
                  </a:cubicBezTo>
                  <a:lnTo>
                    <a:pt x="522328" y="1305565"/>
                  </a:lnTo>
                  <a:cubicBezTo>
                    <a:pt x="522328" y="1305565"/>
                    <a:pt x="522838" y="1306075"/>
                    <a:pt x="522838" y="1306075"/>
                  </a:cubicBezTo>
                  <a:lnTo>
                    <a:pt x="525135" y="1306075"/>
                  </a:lnTo>
                  <a:cubicBezTo>
                    <a:pt x="525135" y="1306075"/>
                    <a:pt x="526283" y="1306585"/>
                    <a:pt x="526283" y="1306585"/>
                  </a:cubicBezTo>
                  <a:lnTo>
                    <a:pt x="527942" y="1306585"/>
                  </a:lnTo>
                  <a:cubicBezTo>
                    <a:pt x="529600" y="1307096"/>
                    <a:pt x="530749" y="1307733"/>
                    <a:pt x="531897" y="1308244"/>
                  </a:cubicBezTo>
                  <a:lnTo>
                    <a:pt x="533045" y="1308244"/>
                  </a:lnTo>
                  <a:cubicBezTo>
                    <a:pt x="533045" y="1308244"/>
                    <a:pt x="533555" y="1311051"/>
                    <a:pt x="534704" y="1311051"/>
                  </a:cubicBezTo>
                  <a:cubicBezTo>
                    <a:pt x="535852" y="1311051"/>
                    <a:pt x="535852" y="1312709"/>
                    <a:pt x="537510" y="1312709"/>
                  </a:cubicBezTo>
                  <a:cubicBezTo>
                    <a:pt x="538021" y="1313219"/>
                    <a:pt x="541466" y="1314878"/>
                    <a:pt x="541466" y="1314878"/>
                  </a:cubicBezTo>
                  <a:cubicBezTo>
                    <a:pt x="543762" y="1317047"/>
                    <a:pt x="545421" y="1314878"/>
                    <a:pt x="546569" y="1314878"/>
                  </a:cubicBezTo>
                  <a:lnTo>
                    <a:pt x="546569" y="1314368"/>
                  </a:lnTo>
                  <a:lnTo>
                    <a:pt x="547079" y="1314368"/>
                  </a:lnTo>
                  <a:cubicBezTo>
                    <a:pt x="546569" y="1309392"/>
                    <a:pt x="548738" y="1311051"/>
                    <a:pt x="548738" y="1309902"/>
                  </a:cubicBezTo>
                  <a:cubicBezTo>
                    <a:pt x="548738" y="1308244"/>
                    <a:pt x="549886" y="1306585"/>
                    <a:pt x="549886" y="1305437"/>
                  </a:cubicBezTo>
                  <a:cubicBezTo>
                    <a:pt x="557796" y="1305437"/>
                    <a:pt x="548227" y="1302120"/>
                    <a:pt x="548738" y="1302120"/>
                  </a:cubicBezTo>
                  <a:cubicBezTo>
                    <a:pt x="548227" y="1300972"/>
                    <a:pt x="547079" y="1297654"/>
                    <a:pt x="547079" y="1297654"/>
                  </a:cubicBezTo>
                  <a:cubicBezTo>
                    <a:pt x="535852" y="1297654"/>
                    <a:pt x="536873" y="1294847"/>
                    <a:pt x="536873" y="1294847"/>
                  </a:cubicBezTo>
                  <a:lnTo>
                    <a:pt x="536873" y="1288213"/>
                  </a:lnTo>
                  <a:cubicBezTo>
                    <a:pt x="537383" y="1287065"/>
                    <a:pt x="541976" y="1285406"/>
                    <a:pt x="541976" y="1284896"/>
                  </a:cubicBezTo>
                  <a:cubicBezTo>
                    <a:pt x="541976" y="1283237"/>
                    <a:pt x="548227" y="1283748"/>
                    <a:pt x="548227" y="1283237"/>
                  </a:cubicBezTo>
                  <a:cubicBezTo>
                    <a:pt x="548227" y="1277113"/>
                    <a:pt x="551034" y="1276603"/>
                    <a:pt x="551034" y="1275455"/>
                  </a:cubicBezTo>
                  <a:cubicBezTo>
                    <a:pt x="553841" y="1276603"/>
                    <a:pt x="554479" y="1284386"/>
                    <a:pt x="554479" y="1284386"/>
                  </a:cubicBezTo>
                  <a:cubicBezTo>
                    <a:pt x="555627" y="1284896"/>
                    <a:pt x="557924" y="1288851"/>
                    <a:pt x="557924" y="1288851"/>
                  </a:cubicBezTo>
                  <a:cubicBezTo>
                    <a:pt x="554479" y="1293827"/>
                    <a:pt x="563538" y="1293316"/>
                    <a:pt x="563538" y="1292168"/>
                  </a:cubicBezTo>
                  <a:cubicBezTo>
                    <a:pt x="565196" y="1286044"/>
                    <a:pt x="570299" y="1293827"/>
                    <a:pt x="570299" y="1293827"/>
                  </a:cubicBezTo>
                  <a:cubicBezTo>
                    <a:pt x="565834" y="1298292"/>
                    <a:pt x="575913" y="1296634"/>
                    <a:pt x="575913" y="1296634"/>
                  </a:cubicBezTo>
                  <a:cubicBezTo>
                    <a:pt x="587141" y="1298292"/>
                    <a:pt x="575913" y="1301099"/>
                    <a:pt x="575913" y="1299951"/>
                  </a:cubicBezTo>
                  <a:cubicBezTo>
                    <a:pt x="566855" y="1301099"/>
                    <a:pt x="574765" y="1302758"/>
                    <a:pt x="574765" y="1302758"/>
                  </a:cubicBezTo>
                  <a:cubicBezTo>
                    <a:pt x="575913" y="1304416"/>
                    <a:pt x="574255" y="1306585"/>
                    <a:pt x="573617" y="1307733"/>
                  </a:cubicBezTo>
                  <a:cubicBezTo>
                    <a:pt x="568513" y="1310540"/>
                    <a:pt x="575275" y="1314368"/>
                    <a:pt x="575275" y="1314368"/>
                  </a:cubicBezTo>
                  <a:cubicBezTo>
                    <a:pt x="577572" y="1314878"/>
                    <a:pt x="581527" y="1316537"/>
                    <a:pt x="582548" y="1318195"/>
                  </a:cubicBezTo>
                  <a:lnTo>
                    <a:pt x="582548" y="1324319"/>
                  </a:lnTo>
                  <a:cubicBezTo>
                    <a:pt x="581910" y="1325340"/>
                    <a:pt x="580761" y="1328147"/>
                    <a:pt x="579996" y="1330316"/>
                  </a:cubicBezTo>
                  <a:cubicBezTo>
                    <a:pt x="581527" y="1330571"/>
                    <a:pt x="583185" y="1330826"/>
                    <a:pt x="584716" y="1331081"/>
                  </a:cubicBezTo>
                  <a:cubicBezTo>
                    <a:pt x="588672" y="1331592"/>
                    <a:pt x="592627" y="1332230"/>
                    <a:pt x="596582" y="1333123"/>
                  </a:cubicBezTo>
                  <a:cubicBezTo>
                    <a:pt x="599261" y="1333633"/>
                    <a:pt x="601047" y="1333505"/>
                    <a:pt x="602578" y="1332612"/>
                  </a:cubicBezTo>
                  <a:cubicBezTo>
                    <a:pt x="608192" y="1329550"/>
                    <a:pt x="614061" y="1327126"/>
                    <a:pt x="619802" y="1324702"/>
                  </a:cubicBezTo>
                  <a:cubicBezTo>
                    <a:pt x="621716" y="1323937"/>
                    <a:pt x="623629" y="1323171"/>
                    <a:pt x="625543" y="1322278"/>
                  </a:cubicBezTo>
                  <a:cubicBezTo>
                    <a:pt x="629881" y="1320492"/>
                    <a:pt x="633453" y="1317813"/>
                    <a:pt x="636388" y="1314495"/>
                  </a:cubicBezTo>
                  <a:cubicBezTo>
                    <a:pt x="637919" y="1312837"/>
                    <a:pt x="639450" y="1310285"/>
                    <a:pt x="639067" y="1307989"/>
                  </a:cubicBezTo>
                  <a:cubicBezTo>
                    <a:pt x="638684" y="1306330"/>
                    <a:pt x="637153" y="1304927"/>
                    <a:pt x="634602" y="1303778"/>
                  </a:cubicBezTo>
                  <a:cubicBezTo>
                    <a:pt x="630902" y="1302120"/>
                    <a:pt x="627840" y="1299696"/>
                    <a:pt x="625033" y="1297272"/>
                  </a:cubicBezTo>
                  <a:cubicBezTo>
                    <a:pt x="623757" y="1296251"/>
                    <a:pt x="622481" y="1295103"/>
                    <a:pt x="621078" y="1294210"/>
                  </a:cubicBezTo>
                  <a:cubicBezTo>
                    <a:pt x="619802" y="1293316"/>
                    <a:pt x="616357" y="1290892"/>
                    <a:pt x="618143" y="1287575"/>
                  </a:cubicBezTo>
                  <a:cubicBezTo>
                    <a:pt x="619674" y="1284641"/>
                    <a:pt x="622864" y="1285151"/>
                    <a:pt x="625033" y="1285534"/>
                  </a:cubicBezTo>
                  <a:lnTo>
                    <a:pt x="625543" y="1285534"/>
                  </a:lnTo>
                  <a:cubicBezTo>
                    <a:pt x="628478" y="1286044"/>
                    <a:pt x="630264" y="1287958"/>
                    <a:pt x="631922" y="1289489"/>
                  </a:cubicBezTo>
                  <a:cubicBezTo>
                    <a:pt x="632816" y="1290382"/>
                    <a:pt x="633709" y="1291275"/>
                    <a:pt x="634729" y="1291786"/>
                  </a:cubicBezTo>
                  <a:cubicBezTo>
                    <a:pt x="635367" y="1292168"/>
                    <a:pt x="636005" y="1292806"/>
                    <a:pt x="636515" y="1293189"/>
                  </a:cubicBezTo>
                  <a:cubicBezTo>
                    <a:pt x="636898" y="1293572"/>
                    <a:pt x="637281" y="1293954"/>
                    <a:pt x="637664" y="1294210"/>
                  </a:cubicBezTo>
                  <a:cubicBezTo>
                    <a:pt x="640471" y="1295485"/>
                    <a:pt x="641108" y="1295485"/>
                    <a:pt x="641746" y="1294465"/>
                  </a:cubicBezTo>
                  <a:cubicBezTo>
                    <a:pt x="641874" y="1294210"/>
                    <a:pt x="642002" y="1294082"/>
                    <a:pt x="642002" y="1294082"/>
                  </a:cubicBezTo>
                  <a:cubicBezTo>
                    <a:pt x="642002" y="1294082"/>
                    <a:pt x="641364" y="1293699"/>
                    <a:pt x="641108" y="1293444"/>
                  </a:cubicBezTo>
                  <a:cubicBezTo>
                    <a:pt x="640598" y="1293061"/>
                    <a:pt x="639960" y="1292678"/>
                    <a:pt x="639450" y="1292168"/>
                  </a:cubicBezTo>
                  <a:cubicBezTo>
                    <a:pt x="639322" y="1291913"/>
                    <a:pt x="638940" y="1291786"/>
                    <a:pt x="638684" y="1291530"/>
                  </a:cubicBezTo>
                  <a:cubicBezTo>
                    <a:pt x="637791" y="1290892"/>
                    <a:pt x="636388" y="1289872"/>
                    <a:pt x="636260" y="1287575"/>
                  </a:cubicBezTo>
                  <a:cubicBezTo>
                    <a:pt x="636260" y="1286810"/>
                    <a:pt x="636643" y="1286172"/>
                    <a:pt x="637409" y="1285917"/>
                  </a:cubicBezTo>
                  <a:cubicBezTo>
                    <a:pt x="642384" y="1284513"/>
                    <a:pt x="646339" y="1287192"/>
                    <a:pt x="649401" y="1289489"/>
                  </a:cubicBezTo>
                  <a:lnTo>
                    <a:pt x="649784" y="1289744"/>
                  </a:lnTo>
                  <a:cubicBezTo>
                    <a:pt x="657056" y="1294975"/>
                    <a:pt x="664584" y="1298675"/>
                    <a:pt x="673004" y="1301227"/>
                  </a:cubicBezTo>
                  <a:cubicBezTo>
                    <a:pt x="680532" y="1303396"/>
                    <a:pt x="686146" y="1310158"/>
                    <a:pt x="689590" y="1315388"/>
                  </a:cubicBezTo>
                  <a:cubicBezTo>
                    <a:pt x="692652" y="1320237"/>
                    <a:pt x="696607" y="1321257"/>
                    <a:pt x="702604" y="1321640"/>
                  </a:cubicBezTo>
                  <a:cubicBezTo>
                    <a:pt x="702604" y="1321640"/>
                    <a:pt x="702731" y="1321640"/>
                    <a:pt x="702859" y="1321640"/>
                  </a:cubicBezTo>
                  <a:cubicBezTo>
                    <a:pt x="704518" y="1321640"/>
                    <a:pt x="706176" y="1321640"/>
                    <a:pt x="707962" y="1321513"/>
                  </a:cubicBezTo>
                  <a:cubicBezTo>
                    <a:pt x="711535" y="1321257"/>
                    <a:pt x="715107" y="1321002"/>
                    <a:pt x="718807" y="1322533"/>
                  </a:cubicBezTo>
                  <a:lnTo>
                    <a:pt x="721741" y="1306968"/>
                  </a:lnTo>
                  <a:cubicBezTo>
                    <a:pt x="721486" y="1306330"/>
                    <a:pt x="721103" y="1305692"/>
                    <a:pt x="720848" y="1305054"/>
                  </a:cubicBezTo>
                  <a:cubicBezTo>
                    <a:pt x="720083" y="1303396"/>
                    <a:pt x="719190" y="1301610"/>
                    <a:pt x="718679" y="1299696"/>
                  </a:cubicBezTo>
                  <a:cubicBezTo>
                    <a:pt x="715745" y="1288851"/>
                    <a:pt x="709493" y="1281961"/>
                    <a:pt x="698521" y="1277368"/>
                  </a:cubicBezTo>
                  <a:cubicBezTo>
                    <a:pt x="693290" y="1275200"/>
                    <a:pt x="688697" y="1271755"/>
                    <a:pt x="684232" y="1268310"/>
                  </a:cubicBezTo>
                  <a:cubicBezTo>
                    <a:pt x="680915" y="1265886"/>
                    <a:pt x="677597" y="1263207"/>
                    <a:pt x="674025" y="1261293"/>
                  </a:cubicBezTo>
                  <a:cubicBezTo>
                    <a:pt x="669432" y="1258741"/>
                    <a:pt x="667136" y="1254659"/>
                    <a:pt x="664967" y="1250831"/>
                  </a:cubicBezTo>
                  <a:cubicBezTo>
                    <a:pt x="663691" y="1248662"/>
                    <a:pt x="662543" y="1246621"/>
                    <a:pt x="661012" y="1244835"/>
                  </a:cubicBezTo>
                  <a:cubicBezTo>
                    <a:pt x="659353" y="1242921"/>
                    <a:pt x="659353" y="1241390"/>
                    <a:pt x="659736" y="1240369"/>
                  </a:cubicBezTo>
                  <a:cubicBezTo>
                    <a:pt x="660501" y="1238200"/>
                    <a:pt x="663180" y="1237562"/>
                    <a:pt x="665349" y="1237307"/>
                  </a:cubicBezTo>
                  <a:cubicBezTo>
                    <a:pt x="670835" y="1236669"/>
                    <a:pt x="675046" y="1239476"/>
                    <a:pt x="678746" y="1242028"/>
                  </a:cubicBezTo>
                  <a:lnTo>
                    <a:pt x="682828" y="1244707"/>
                  </a:lnTo>
                  <a:cubicBezTo>
                    <a:pt x="687294" y="1247641"/>
                    <a:pt x="692014" y="1250576"/>
                    <a:pt x="695332" y="1254786"/>
                  </a:cubicBezTo>
                  <a:cubicBezTo>
                    <a:pt x="699925" y="1260655"/>
                    <a:pt x="705921" y="1264355"/>
                    <a:pt x="712173" y="1268310"/>
                  </a:cubicBezTo>
                  <a:cubicBezTo>
                    <a:pt x="717148" y="1271372"/>
                    <a:pt x="722252" y="1274689"/>
                    <a:pt x="726590" y="1278899"/>
                  </a:cubicBezTo>
                  <a:cubicBezTo>
                    <a:pt x="727993" y="1280303"/>
                    <a:pt x="729524" y="1281706"/>
                    <a:pt x="731055" y="1283110"/>
                  </a:cubicBezTo>
                  <a:cubicBezTo>
                    <a:pt x="736924" y="1288468"/>
                    <a:pt x="742920" y="1294082"/>
                    <a:pt x="745217" y="1302630"/>
                  </a:cubicBezTo>
                  <a:lnTo>
                    <a:pt x="745855" y="1303268"/>
                  </a:lnTo>
                  <a:cubicBezTo>
                    <a:pt x="750831" y="1308116"/>
                    <a:pt x="756061" y="1313219"/>
                    <a:pt x="761675" y="1317685"/>
                  </a:cubicBezTo>
                  <a:cubicBezTo>
                    <a:pt x="763972" y="1319471"/>
                    <a:pt x="766141" y="1321513"/>
                    <a:pt x="768182" y="1323554"/>
                  </a:cubicBezTo>
                  <a:cubicBezTo>
                    <a:pt x="770351" y="1325595"/>
                    <a:pt x="772520" y="1327637"/>
                    <a:pt x="774944" y="1329423"/>
                  </a:cubicBezTo>
                  <a:cubicBezTo>
                    <a:pt x="785533" y="1337843"/>
                    <a:pt x="797781" y="1336950"/>
                    <a:pt x="809519" y="1334654"/>
                  </a:cubicBezTo>
                  <a:cubicBezTo>
                    <a:pt x="817684" y="1333123"/>
                    <a:pt x="824064" y="1336312"/>
                    <a:pt x="829167" y="1339629"/>
                  </a:cubicBezTo>
                  <a:cubicBezTo>
                    <a:pt x="833632" y="1342564"/>
                    <a:pt x="837843" y="1344095"/>
                    <a:pt x="842053" y="1344477"/>
                  </a:cubicBezTo>
                  <a:cubicBezTo>
                    <a:pt x="850601" y="1345243"/>
                    <a:pt x="855449" y="1350857"/>
                    <a:pt x="860170" y="1356215"/>
                  </a:cubicBezTo>
                  <a:cubicBezTo>
                    <a:pt x="860808" y="1356981"/>
                    <a:pt x="861573" y="1357746"/>
                    <a:pt x="862211" y="1358512"/>
                  </a:cubicBezTo>
                  <a:cubicBezTo>
                    <a:pt x="866421" y="1363105"/>
                    <a:pt x="867697" y="1368463"/>
                    <a:pt x="868973" y="1373694"/>
                  </a:cubicBezTo>
                  <a:cubicBezTo>
                    <a:pt x="869483" y="1375863"/>
                    <a:pt x="869994" y="1378032"/>
                    <a:pt x="870759" y="1380073"/>
                  </a:cubicBezTo>
                  <a:cubicBezTo>
                    <a:pt x="870887" y="1380201"/>
                    <a:pt x="871652" y="1380073"/>
                    <a:pt x="872035" y="1380073"/>
                  </a:cubicBezTo>
                  <a:cubicBezTo>
                    <a:pt x="872928" y="1380073"/>
                    <a:pt x="873949" y="1380073"/>
                    <a:pt x="874714" y="1380711"/>
                  </a:cubicBezTo>
                  <a:cubicBezTo>
                    <a:pt x="874714" y="1380711"/>
                    <a:pt x="874842" y="1380839"/>
                    <a:pt x="874842" y="1380966"/>
                  </a:cubicBezTo>
                  <a:cubicBezTo>
                    <a:pt x="877649" y="1381860"/>
                    <a:pt x="879818" y="1383136"/>
                    <a:pt x="881859" y="1384284"/>
                  </a:cubicBezTo>
                  <a:cubicBezTo>
                    <a:pt x="885431" y="1386325"/>
                    <a:pt x="888238" y="1387856"/>
                    <a:pt x="892959" y="1387091"/>
                  </a:cubicBezTo>
                  <a:cubicBezTo>
                    <a:pt x="894490" y="1386835"/>
                    <a:pt x="897042" y="1387091"/>
                    <a:pt x="898572" y="1388111"/>
                  </a:cubicBezTo>
                  <a:cubicBezTo>
                    <a:pt x="901890" y="1390663"/>
                    <a:pt x="905845" y="1391556"/>
                    <a:pt x="910055" y="1392577"/>
                  </a:cubicBezTo>
                  <a:cubicBezTo>
                    <a:pt x="911714" y="1392959"/>
                    <a:pt x="913372" y="1393342"/>
                    <a:pt x="915031" y="1393852"/>
                  </a:cubicBezTo>
                  <a:cubicBezTo>
                    <a:pt x="915158" y="1393852"/>
                    <a:pt x="915286" y="1393852"/>
                    <a:pt x="915414" y="1393980"/>
                  </a:cubicBezTo>
                  <a:cubicBezTo>
                    <a:pt x="924344" y="1383136"/>
                    <a:pt x="924472" y="1383008"/>
                    <a:pt x="924472" y="1383008"/>
                  </a:cubicBezTo>
                  <a:lnTo>
                    <a:pt x="948713" y="1383008"/>
                  </a:lnTo>
                  <a:cubicBezTo>
                    <a:pt x="957133" y="1383008"/>
                    <a:pt x="980864" y="1370249"/>
                    <a:pt x="991581" y="1366932"/>
                  </a:cubicBezTo>
                  <a:cubicBezTo>
                    <a:pt x="1001788" y="1363615"/>
                    <a:pt x="1007401" y="1343584"/>
                    <a:pt x="1007401" y="1343584"/>
                  </a:cubicBezTo>
                  <a:lnTo>
                    <a:pt x="1064942" y="1352515"/>
                  </a:lnTo>
                  <a:lnTo>
                    <a:pt x="1074000" y="1335292"/>
                  </a:lnTo>
                  <a:lnTo>
                    <a:pt x="1095945" y="1340267"/>
                  </a:lnTo>
                  <a:lnTo>
                    <a:pt x="1112275" y="1360298"/>
                  </a:lnTo>
                  <a:cubicBezTo>
                    <a:pt x="1112275" y="1360298"/>
                    <a:pt x="1139961" y="1334143"/>
                    <a:pt x="1142130" y="1326361"/>
                  </a:cubicBezTo>
                  <a:cubicBezTo>
                    <a:pt x="1144426" y="1318578"/>
                    <a:pt x="1132561" y="1292423"/>
                    <a:pt x="1130265" y="1287958"/>
                  </a:cubicBezTo>
                  <a:cubicBezTo>
                    <a:pt x="1127968" y="1283492"/>
                    <a:pt x="1111127" y="1267417"/>
                    <a:pt x="1111127" y="1267417"/>
                  </a:cubicBezTo>
                  <a:lnTo>
                    <a:pt x="1136516" y="1249683"/>
                  </a:lnTo>
                  <a:lnTo>
                    <a:pt x="1120186" y="1222507"/>
                  </a:lnTo>
                  <a:cubicBezTo>
                    <a:pt x="1120186" y="1222507"/>
                    <a:pt x="1125799" y="1215873"/>
                    <a:pt x="1131413" y="1208091"/>
                  </a:cubicBezTo>
                  <a:cubicBezTo>
                    <a:pt x="1137665" y="1199798"/>
                    <a:pt x="1131413" y="1177470"/>
                    <a:pt x="1131413" y="1177470"/>
                  </a:cubicBezTo>
                  <a:lnTo>
                    <a:pt x="1120186" y="1165733"/>
                  </a:lnTo>
                  <a:lnTo>
                    <a:pt x="1136516" y="1143533"/>
                  </a:lnTo>
                  <a:lnTo>
                    <a:pt x="1133709" y="1117378"/>
                  </a:lnTo>
                  <a:lnTo>
                    <a:pt x="1152337" y="1092372"/>
                  </a:lnTo>
                  <a:lnTo>
                    <a:pt x="1137665" y="1086758"/>
                  </a:lnTo>
                  <a:lnTo>
                    <a:pt x="1150040" y="1070045"/>
                  </a:lnTo>
                  <a:cubicBezTo>
                    <a:pt x="1150040" y="1070045"/>
                    <a:pt x="1124651" y="1018884"/>
                    <a:pt x="1120186" y="1001150"/>
                  </a:cubicBezTo>
                  <a:cubicBezTo>
                    <a:pt x="1115720" y="982778"/>
                    <a:pt x="1106662" y="935572"/>
                    <a:pt x="1102707" y="927789"/>
                  </a:cubicBezTo>
                  <a:cubicBezTo>
                    <a:pt x="1099262" y="919496"/>
                    <a:pt x="1084590" y="911713"/>
                    <a:pt x="1084590" y="911713"/>
                  </a:cubicBezTo>
                  <a:lnTo>
                    <a:pt x="1084590" y="887855"/>
                  </a:lnTo>
                  <a:lnTo>
                    <a:pt x="1103727" y="863359"/>
                  </a:lnTo>
                  <a:lnTo>
                    <a:pt x="1098114" y="842818"/>
                  </a:lnTo>
                  <a:lnTo>
                    <a:pt x="1129116" y="840649"/>
                  </a:lnTo>
                  <a:lnTo>
                    <a:pt x="1148892" y="849580"/>
                  </a:lnTo>
                  <a:lnTo>
                    <a:pt x="1157950" y="843966"/>
                  </a:lnTo>
                  <a:lnTo>
                    <a:pt x="1163564" y="831718"/>
                  </a:lnTo>
                  <a:lnTo>
                    <a:pt x="1185508" y="822277"/>
                  </a:lnTo>
                  <a:lnTo>
                    <a:pt x="1182064" y="810029"/>
                  </a:lnTo>
                  <a:cubicBezTo>
                    <a:pt x="1182064" y="810029"/>
                    <a:pt x="1194439" y="805564"/>
                    <a:pt x="1198394" y="805564"/>
                  </a:cubicBezTo>
                  <a:cubicBezTo>
                    <a:pt x="1201839" y="805564"/>
                    <a:pt x="1217532" y="797781"/>
                    <a:pt x="1217532" y="797781"/>
                  </a:cubicBezTo>
                  <a:lnTo>
                    <a:pt x="1219828" y="758358"/>
                  </a:lnTo>
                  <a:lnTo>
                    <a:pt x="1228249" y="745599"/>
                  </a:lnTo>
                  <a:lnTo>
                    <a:pt x="1199415" y="727865"/>
                  </a:lnTo>
                  <a:cubicBezTo>
                    <a:pt x="1199415" y="727865"/>
                    <a:pt x="1198267" y="715107"/>
                    <a:pt x="1195970" y="708473"/>
                  </a:cubicBezTo>
                  <a:cubicBezTo>
                    <a:pt x="1193163" y="701838"/>
                    <a:pt x="1207198" y="694056"/>
                    <a:pt x="1211791" y="694056"/>
                  </a:cubicBezTo>
                  <a:cubicBezTo>
                    <a:pt x="1216384" y="694056"/>
                    <a:pt x="1242794" y="714086"/>
                    <a:pt x="1242794" y="714086"/>
                  </a:cubicBezTo>
                  <a:lnTo>
                    <a:pt x="1255169" y="708473"/>
                  </a:lnTo>
                  <a:lnTo>
                    <a:pt x="1259124" y="695076"/>
                  </a:lnTo>
                  <a:lnTo>
                    <a:pt x="1269331" y="698393"/>
                  </a:lnTo>
                  <a:lnTo>
                    <a:pt x="1265886" y="724548"/>
                  </a:lnTo>
                  <a:lnTo>
                    <a:pt x="1296889" y="702859"/>
                  </a:lnTo>
                  <a:close/>
                </a:path>
              </a:pathLst>
            </a:custGeom>
            <a:solidFill>
              <a:srgbClr val="EDE6E1"/>
            </a:solidFill>
            <a:ln w="12700" cap="rnd">
              <a:solidFill>
                <a:srgbClr val="D9CEC9"/>
              </a:solidFill>
              <a:prstDash val="solid"/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07921"/>
              <a:endParaRPr lang="de-DE" sz="1698">
                <a:solidFill>
                  <a:srgbClr val="3B3B3B"/>
                </a:solidFill>
              </a:endParaRPr>
            </a:p>
          </p:txBody>
        </p:sp>
      </p:grp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133">
              <a:latin typeface="EnBW DIN Pro"/>
              <a:cs typeface="+mj-cs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6223" y="332277"/>
            <a:ext cx="8784357" cy="503845"/>
          </a:xfrm>
        </p:spPr>
        <p:txBody>
          <a:bodyPr vert="horz"/>
          <a:lstStyle/>
          <a:p>
            <a:r>
              <a:rPr lang="de-DE" dirty="0">
                <a:latin typeface="EnBW Sans Headline" pitchFamily="50" charset="0"/>
                <a:ea typeface="EnBW Sans Headline" pitchFamily="50" charset="0"/>
              </a:rPr>
              <a:t>Wir sind für Sie nah.</a:t>
            </a:r>
          </a:p>
        </p:txBody>
      </p:sp>
      <p:sp>
        <p:nvSpPr>
          <p:cNvPr id="98" name="Foliennummernplatzhalter 97">
            <a:extLst>
              <a:ext uri="{FF2B5EF4-FFF2-40B4-BE49-F238E27FC236}">
                <a16:creationId xmlns:a16="http://schemas.microsoft.com/office/drawing/2014/main" id="{E29B5632-200D-57F1-A0A8-5BEC4E9E9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6293320-4647-0924-7E79-CD4C179A3E2A}"/>
              </a:ext>
            </a:extLst>
          </p:cNvPr>
          <p:cNvSpPr txBox="1">
            <a:spLocks/>
          </p:cNvSpPr>
          <p:nvPr/>
        </p:nvSpPr>
        <p:spPr>
          <a:xfrm>
            <a:off x="7464152" y="1844824"/>
            <a:ext cx="2446177" cy="46769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b="0" kern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</a:rPr>
              <a:t>Unsere Standorte</a:t>
            </a:r>
            <a:br>
              <a:rPr lang="de-DE" sz="1800" b="0" kern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</a:rPr>
            </a:br>
            <a:r>
              <a:rPr lang="de-DE" sz="1400" b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 panose="020B0504020101020102" pitchFamily="34" charset="0"/>
              </a:rPr>
              <a:t>in Baden-Württemberg </a:t>
            </a:r>
            <a:br>
              <a:rPr lang="de-DE" sz="1400" b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 panose="020B0504020101020102" pitchFamily="34" charset="0"/>
              </a:rPr>
            </a:br>
            <a:r>
              <a:rPr lang="de-DE" sz="1400" b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 panose="020B0504020101020102" pitchFamily="34" charset="0"/>
              </a:rPr>
              <a:t>und Bayern</a:t>
            </a:r>
          </a:p>
        </p:txBody>
      </p:sp>
      <p:sp>
        <p:nvSpPr>
          <p:cNvPr id="8" name="Textfeld 29">
            <a:extLst>
              <a:ext uri="{FF2B5EF4-FFF2-40B4-BE49-F238E27FC236}">
                <a16:creationId xmlns:a16="http://schemas.microsoft.com/office/drawing/2014/main" id="{E9624AE9-5A4A-817F-18C2-BC474CDC5C54}"/>
              </a:ext>
            </a:extLst>
          </p:cNvPr>
          <p:cNvSpPr txBox="1"/>
          <p:nvPr/>
        </p:nvSpPr>
        <p:spPr bwMode="gray">
          <a:xfrm>
            <a:off x="407988" y="1844824"/>
            <a:ext cx="2952000" cy="46769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lnSpc>
                <a:spcPct val="100000"/>
              </a:lnSpc>
            </a:pPr>
            <a:r>
              <a:rPr lang="de-DE" sz="1800" kern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/>
                <a:sym typeface="EnBW DIN Pro"/>
              </a:rPr>
              <a:t>Versorgung</a:t>
            </a:r>
          </a:p>
        </p:txBody>
      </p:sp>
      <p:sp>
        <p:nvSpPr>
          <p:cNvPr id="9" name="Textfeld 29">
            <a:extLst>
              <a:ext uri="{FF2B5EF4-FFF2-40B4-BE49-F238E27FC236}">
                <a16:creationId xmlns:a16="http://schemas.microsoft.com/office/drawing/2014/main" id="{B42F5163-57EC-3ACF-9ED4-21623D9F63E0}"/>
              </a:ext>
            </a:extLst>
          </p:cNvPr>
          <p:cNvSpPr txBox="1"/>
          <p:nvPr/>
        </p:nvSpPr>
        <p:spPr bwMode="gray">
          <a:xfrm>
            <a:off x="3900029" y="1844824"/>
            <a:ext cx="2952000" cy="46769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lnSpc>
                <a:spcPct val="100000"/>
              </a:lnSpc>
            </a:pPr>
            <a:r>
              <a:rPr lang="de-DE" sz="1800" kern="0" dirty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/>
                <a:sym typeface="EnBW DIN Pro"/>
              </a:rPr>
              <a:t>Kunden insgesamt</a:t>
            </a:r>
          </a:p>
        </p:txBody>
      </p:sp>
      <p:sp>
        <p:nvSpPr>
          <p:cNvPr id="10" name="Textfeld 5">
            <a:extLst>
              <a:ext uri="{FF2B5EF4-FFF2-40B4-BE49-F238E27FC236}">
                <a16:creationId xmlns:a16="http://schemas.microsoft.com/office/drawing/2014/main" id="{F1763BA9-FBBA-10F2-4772-976BC9F8A7F2}"/>
              </a:ext>
            </a:extLst>
          </p:cNvPr>
          <p:cNvSpPr txBox="1"/>
          <p:nvPr/>
        </p:nvSpPr>
        <p:spPr bwMode="gray">
          <a:xfrm>
            <a:off x="407988" y="2154722"/>
            <a:ext cx="2952000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600">
                <a:solidFill>
                  <a:srgbClr val="322A26"/>
                </a:solidFill>
                <a:latin typeface="EnBW Sans Text" pitchFamily="50" charset="0"/>
              </a:rPr>
              <a:t>in über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  <a:ea typeface="DIN-Regular" panose="020B0500010101010101" pitchFamily="34" charset="0"/>
              </a:rPr>
              <a:t>40 %</a:t>
            </a:r>
          </a:p>
        </p:txBody>
      </p:sp>
      <p:sp>
        <p:nvSpPr>
          <p:cNvPr id="11" name="Rectangle 64">
            <a:extLst>
              <a:ext uri="{FF2B5EF4-FFF2-40B4-BE49-F238E27FC236}">
                <a16:creationId xmlns:a16="http://schemas.microsoft.com/office/drawing/2014/main" id="{68837D8A-8625-8268-5199-53A4CC40EEB1}"/>
              </a:ext>
            </a:extLst>
          </p:cNvPr>
          <p:cNvSpPr/>
          <p:nvPr/>
        </p:nvSpPr>
        <p:spPr bwMode="gray">
          <a:xfrm>
            <a:off x="3900029" y="2154722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 dirty="0">
                <a:latin typeface="EnBW Sans Text" pitchFamily="50" charset="0"/>
              </a:rPr>
              <a:t>rund</a:t>
            </a:r>
            <a:r>
              <a:rPr lang="de-DE" sz="2265" dirty="0">
                <a:latin typeface="EnBW Sans Text" pitchFamily="50" charset="0"/>
                <a:cs typeface="EnBW DIN Pro" panose="020B0504020101020102" pitchFamily="34" charset="0"/>
              </a:rPr>
              <a:t> </a:t>
            </a:r>
            <a:r>
              <a:rPr lang="de-DE" sz="3600" dirty="0">
                <a:solidFill>
                  <a:schemeClr val="tx2"/>
                </a:solidFill>
                <a:latin typeface="EnBW Sans Text" pitchFamily="50" charset="0"/>
                <a:ea typeface="DIN-Regular" panose="020B0500010101010101" pitchFamily="34" charset="0"/>
                <a:cs typeface="EnBW DIN Pro" panose="020B0504020101020102" pitchFamily="34" charset="0"/>
              </a:rPr>
              <a:t>97</a:t>
            </a:r>
            <a:r>
              <a:rPr lang="de-DE" sz="3600" dirty="0">
                <a:solidFill>
                  <a:schemeClr val="tx2"/>
                </a:solidFill>
                <a:latin typeface="EnBW Sans Text" pitchFamily="50" charset="0"/>
                <a:ea typeface="DIN-Regular" panose="020B0500010101010101" pitchFamily="34" charset="0"/>
              </a:rPr>
              <a:t>.000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FD942645-827D-AE17-BA3D-62CDE5E2C7D7}"/>
              </a:ext>
            </a:extLst>
          </p:cNvPr>
          <p:cNvSpPr/>
          <p:nvPr/>
        </p:nvSpPr>
        <p:spPr bwMode="gray">
          <a:xfrm>
            <a:off x="407988" y="2730793"/>
            <a:ext cx="2952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 dirty="0">
                <a:latin typeface="EnBW Sans Text" pitchFamily="50" charset="0"/>
                <a:cs typeface="EnBW DIN Pro" panose="020B0504020101020102" pitchFamily="34" charset="0"/>
              </a:rPr>
              <a:t>der Kommunen Baden-Württembergs und im angrenzenden Bayern erfolgreich mit gigabitfähiger Glasfasertechnologie aktiv</a:t>
            </a:r>
          </a:p>
        </p:txBody>
      </p:sp>
      <p:sp>
        <p:nvSpPr>
          <p:cNvPr id="13" name="Rectangle 14">
            <a:extLst>
              <a:ext uri="{FF2B5EF4-FFF2-40B4-BE49-F238E27FC236}">
                <a16:creationId xmlns:a16="http://schemas.microsoft.com/office/drawing/2014/main" id="{276420A9-567E-6B5F-532C-CE747FCE690E}"/>
              </a:ext>
            </a:extLst>
          </p:cNvPr>
          <p:cNvSpPr/>
          <p:nvPr/>
        </p:nvSpPr>
        <p:spPr bwMode="gray">
          <a:xfrm>
            <a:off x="3900029" y="2730793"/>
            <a:ext cx="295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 dirty="0">
                <a:latin typeface="EnBW Sans Text" pitchFamily="50" charset="0"/>
                <a:cs typeface="EnBW DIN Pro" panose="020B0504020101020102" pitchFamily="34" charset="0"/>
              </a:rPr>
              <a:t>Uns vertrauen Industrie- und Geschäftskunden ebenso wie Privatkunden und die EnBW.</a:t>
            </a:r>
          </a:p>
        </p:txBody>
      </p:sp>
      <p:sp>
        <p:nvSpPr>
          <p:cNvPr id="15" name="Textfeld 29">
            <a:extLst>
              <a:ext uri="{FF2B5EF4-FFF2-40B4-BE49-F238E27FC236}">
                <a16:creationId xmlns:a16="http://schemas.microsoft.com/office/drawing/2014/main" id="{0055024B-F92C-E153-865E-093CB6B8B0EF}"/>
              </a:ext>
            </a:extLst>
          </p:cNvPr>
          <p:cNvSpPr txBox="1"/>
          <p:nvPr/>
        </p:nvSpPr>
        <p:spPr bwMode="gray">
          <a:xfrm>
            <a:off x="3900029" y="4584325"/>
            <a:ext cx="2952000" cy="479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800" kern="0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/>
                <a:sym typeface="EnBW DIN Pro"/>
              </a:rPr>
              <a:t>Umsatz</a:t>
            </a:r>
          </a:p>
        </p:txBody>
      </p:sp>
      <p:sp>
        <p:nvSpPr>
          <p:cNvPr id="17" name="Rectangle 64">
            <a:extLst>
              <a:ext uri="{FF2B5EF4-FFF2-40B4-BE49-F238E27FC236}">
                <a16:creationId xmlns:a16="http://schemas.microsoft.com/office/drawing/2014/main" id="{C517D2BA-33EC-08C4-7B2E-1F58CB569026}"/>
              </a:ext>
            </a:extLst>
          </p:cNvPr>
          <p:cNvSpPr/>
          <p:nvPr/>
        </p:nvSpPr>
        <p:spPr bwMode="gray">
          <a:xfrm>
            <a:off x="3900029" y="4870042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21089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</a:rPr>
              <a:t>über </a:t>
            </a:r>
            <a:r>
              <a:rPr kumimoji="0" lang="de-DE" sz="3600" b="0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Text" pitchFamily="50" charset="0"/>
                <a:ea typeface="DIN-Regular" panose="020B0500010101010101" pitchFamily="34" charset="0"/>
              </a:rPr>
              <a:t>119 Mio. €</a:t>
            </a: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CFCF9AA9-D4B0-C3E0-6211-83800822D0E8}"/>
              </a:ext>
            </a:extLst>
          </p:cNvPr>
          <p:cNvSpPr/>
          <p:nvPr/>
        </p:nvSpPr>
        <p:spPr bwMode="gray">
          <a:xfrm>
            <a:off x="3900029" y="5446113"/>
            <a:ext cx="284397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latin typeface="EnBW Sans Text" pitchFamily="50" charset="0"/>
                <a:cs typeface="EnBW DIN Pro" panose="020B0504020101020102" pitchFamily="34" charset="0"/>
              </a:rPr>
              <a:t>Wir wachsen kontinuierlich.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F4DC96B9-7E82-4A4D-2D96-8C039EBDAD9D}"/>
              </a:ext>
            </a:extLst>
          </p:cNvPr>
          <p:cNvCxnSpPr>
            <a:cxnSpLocks/>
          </p:cNvCxnSpPr>
          <p:nvPr/>
        </p:nvCxnSpPr>
        <p:spPr>
          <a:xfrm>
            <a:off x="3431704" y="4385224"/>
            <a:ext cx="0" cy="188857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29">
            <a:extLst>
              <a:ext uri="{FF2B5EF4-FFF2-40B4-BE49-F238E27FC236}">
                <a16:creationId xmlns:a16="http://schemas.microsoft.com/office/drawing/2014/main" id="{FC4AFDAD-DE62-8D31-4207-E63DFDB229F0}"/>
              </a:ext>
            </a:extLst>
          </p:cNvPr>
          <p:cNvSpPr txBox="1"/>
          <p:nvPr/>
        </p:nvSpPr>
        <p:spPr bwMode="gray">
          <a:xfrm>
            <a:off x="407988" y="4584325"/>
            <a:ext cx="2952000" cy="479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800" kern="0" dirty="0" err="1">
                <a:solidFill>
                  <a:schemeClr val="tx1"/>
                </a:solidFill>
                <a:latin typeface="EnBW Sans Headline" pitchFamily="2" charset="0"/>
                <a:ea typeface="EnBW Sans Headline" pitchFamily="2" charset="0"/>
                <a:cs typeface="EnBW DIN Pro"/>
                <a:sym typeface="EnBW DIN Pro"/>
              </a:rPr>
              <a:t>Mitarbeiter:innen</a:t>
            </a:r>
            <a:endParaRPr lang="de-DE" sz="1800" kern="0" dirty="0">
              <a:solidFill>
                <a:schemeClr val="tx1"/>
              </a:solidFill>
              <a:latin typeface="EnBW Sans Headline" pitchFamily="2" charset="0"/>
              <a:ea typeface="EnBW Sans Headline" pitchFamily="2" charset="0"/>
              <a:cs typeface="EnBW DIN Pro"/>
              <a:sym typeface="EnBW DIN Pro"/>
            </a:endParaRPr>
          </a:p>
        </p:txBody>
      </p:sp>
      <p:sp>
        <p:nvSpPr>
          <p:cNvPr id="20" name="Rectangle 64">
            <a:extLst>
              <a:ext uri="{FF2B5EF4-FFF2-40B4-BE49-F238E27FC236}">
                <a16:creationId xmlns:a16="http://schemas.microsoft.com/office/drawing/2014/main" id="{AD4A2057-949C-2799-03BE-B7CCC15993B3}"/>
              </a:ext>
            </a:extLst>
          </p:cNvPr>
          <p:cNvSpPr/>
          <p:nvPr/>
        </p:nvSpPr>
        <p:spPr bwMode="gray">
          <a:xfrm>
            <a:off x="407988" y="4870042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>
                <a:latin typeface="EnBW Sans Text" pitchFamily="50" charset="0"/>
              </a:rPr>
              <a:t>über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  <a:ea typeface="DIN-Regular" panose="020B0500010101010101" pitchFamily="34" charset="0"/>
              </a:rPr>
              <a:t>450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2D9FC852-CEBA-82D6-AB9A-72009F781EB4}"/>
              </a:ext>
            </a:extLst>
          </p:cNvPr>
          <p:cNvSpPr/>
          <p:nvPr/>
        </p:nvSpPr>
        <p:spPr bwMode="gray">
          <a:xfrm>
            <a:off x="407987" y="5446113"/>
            <a:ext cx="324008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latin typeface="EnBW Sans Text" pitchFamily="50" charset="0"/>
                <a:cs typeface="EnBW DIN Pro" panose="020B0504020101020102" pitchFamily="34" charset="0"/>
              </a:rPr>
              <a:t>Wir haben ein starkes Team.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25D53C40-4B34-B12A-7288-CCB9F346559E}"/>
              </a:ext>
            </a:extLst>
          </p:cNvPr>
          <p:cNvGrpSpPr/>
          <p:nvPr/>
        </p:nvGrpSpPr>
        <p:grpSpPr>
          <a:xfrm>
            <a:off x="9439819" y="5721117"/>
            <a:ext cx="1120336" cy="332999"/>
            <a:chOff x="10128000" y="5840648"/>
            <a:chExt cx="1120336" cy="332999"/>
          </a:xfrm>
        </p:grpSpPr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0DDD6B7-9319-017B-4E1E-EE9D0C2B9853}"/>
                </a:ext>
              </a:extLst>
            </p:cNvPr>
            <p:cNvSpPr txBox="1"/>
            <p:nvPr/>
          </p:nvSpPr>
          <p:spPr bwMode="gray">
            <a:xfrm>
              <a:off x="10128000" y="5840648"/>
              <a:ext cx="1120336" cy="2210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/>
            <a:p>
              <a:pPr algn="ctr">
                <a:buClr>
                  <a:schemeClr val="accent6"/>
                </a:buClr>
                <a:buSzPct val="140000"/>
              </a:pPr>
              <a:r>
                <a:rPr lang="de-DE" sz="1200">
                  <a:latin typeface="EnBW Sans Text" pitchFamily="50" charset="0"/>
                  <a:ea typeface="DIN-Regular" panose="020B0500010101010101" pitchFamily="34" charset="0"/>
                </a:rPr>
                <a:t>Lindau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8F6FC132-D9BB-208E-53AB-8529B3154007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  <a:latin typeface="EnBW Sans Text" pitchFamily="50" charset="0"/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16C6AA01-A68E-7AA8-7C45-24D1B57766A8}"/>
              </a:ext>
            </a:extLst>
          </p:cNvPr>
          <p:cNvGrpSpPr/>
          <p:nvPr/>
        </p:nvGrpSpPr>
        <p:grpSpPr>
          <a:xfrm>
            <a:off x="10177506" y="3614835"/>
            <a:ext cx="1120336" cy="517664"/>
            <a:chOff x="10361842" y="5655983"/>
            <a:chExt cx="1120336" cy="517664"/>
          </a:xfrm>
        </p:grpSpPr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060206B5-95A7-59E0-64D4-093FC9F89DAC}"/>
                </a:ext>
              </a:extLst>
            </p:cNvPr>
            <p:cNvSpPr txBox="1"/>
            <p:nvPr/>
          </p:nvSpPr>
          <p:spPr bwMode="gray">
            <a:xfrm>
              <a:off x="10361842" y="5655983"/>
              <a:ext cx="1120336" cy="4056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1200" b="1">
                  <a:latin typeface="EnBW Sans Text" pitchFamily="50" charset="0"/>
                  <a:ea typeface="DIN-Regular" panose="020B0500010101010101" pitchFamily="34" charset="0"/>
                </a:rPr>
                <a:t>Hauptsitz</a:t>
              </a:r>
            </a:p>
            <a:p>
              <a:pPr>
                <a:buClr>
                  <a:schemeClr val="accent6"/>
                </a:buClr>
                <a:buSzPct val="140000"/>
              </a:pPr>
              <a:r>
                <a:rPr lang="de-DE" sz="1200">
                  <a:latin typeface="EnBW Sans Text" pitchFamily="50" charset="0"/>
                  <a:ea typeface="DIN-Regular" panose="020B0500010101010101" pitchFamily="34" charset="0"/>
                </a:rPr>
                <a:t>Ellwangen</a:t>
              </a: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1A315087-B3E0-E069-FD8C-6F3982857C36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  <a:latin typeface="EnBW Sans Text" pitchFamily="50" charset="0"/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B0F770A4-E3D6-B10A-1C7A-BB1D3A72253E}"/>
              </a:ext>
            </a:extLst>
          </p:cNvPr>
          <p:cNvGrpSpPr/>
          <p:nvPr/>
        </p:nvGrpSpPr>
        <p:grpSpPr>
          <a:xfrm>
            <a:off x="9840000" y="4112812"/>
            <a:ext cx="1120336" cy="316326"/>
            <a:chOff x="10128000" y="6089282"/>
            <a:chExt cx="1120336" cy="316326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C6CA3D97-E282-5CFC-1A11-153CB1EF1B4C}"/>
                </a:ext>
              </a:extLst>
            </p:cNvPr>
            <p:cNvSpPr txBox="1"/>
            <p:nvPr/>
          </p:nvSpPr>
          <p:spPr bwMode="gray">
            <a:xfrm>
              <a:off x="10128000" y="6148239"/>
              <a:ext cx="1120336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36000" rIns="0" bIns="36000" rtlCol="0" anchor="t" anchorCtr="0">
              <a:spAutoFit/>
            </a:bodyPr>
            <a:lstStyle/>
            <a:p>
              <a:pPr algn="ctr">
                <a:buClr>
                  <a:schemeClr val="accent6"/>
                </a:buClr>
                <a:buSzPct val="140000"/>
              </a:pPr>
              <a:r>
                <a:rPr lang="de-DE" sz="1200">
                  <a:latin typeface="EnBW Sans Text" pitchFamily="50" charset="0"/>
                  <a:ea typeface="DIN-Regular" panose="020B0500010101010101" pitchFamily="34" charset="0"/>
                </a:rPr>
                <a:t>Hüttlingen</a:t>
              </a:r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841C751E-58A8-4599-E40C-6E42F0E6AA5F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  <a:latin typeface="EnBW Sans Text" pitchFamily="50" charset="0"/>
              </a:endParaRP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F202E77A-2BD1-0720-A6AF-7F317F40F372}"/>
              </a:ext>
            </a:extLst>
          </p:cNvPr>
          <p:cNvGrpSpPr/>
          <p:nvPr/>
        </p:nvGrpSpPr>
        <p:grpSpPr>
          <a:xfrm>
            <a:off x="8260200" y="3536812"/>
            <a:ext cx="1836136" cy="470645"/>
            <a:chOff x="8260200" y="3573000"/>
            <a:chExt cx="1836136" cy="470645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3B1C2EB9-B563-6AE4-3F34-85C94EBE1D29}"/>
                </a:ext>
              </a:extLst>
            </p:cNvPr>
            <p:cNvGrpSpPr/>
            <p:nvPr/>
          </p:nvGrpSpPr>
          <p:grpSpPr>
            <a:xfrm>
              <a:off x="8976000" y="3573000"/>
              <a:ext cx="1120336" cy="300365"/>
              <a:chOff x="10128000" y="5873282"/>
              <a:chExt cx="1120336" cy="300365"/>
            </a:xfrm>
          </p:grpSpPr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BA1F9BAB-D3CC-2E0A-93C2-59CACEB2C816}"/>
                  </a:ext>
                </a:extLst>
              </p:cNvPr>
              <p:cNvSpPr txBox="1"/>
              <p:nvPr/>
            </p:nvSpPr>
            <p:spPr bwMode="gray">
              <a:xfrm>
                <a:off x="10128000" y="5873282"/>
                <a:ext cx="1120336" cy="221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36000" rtlCol="0" anchor="b" anchorCtr="0">
                <a:spAutoFit/>
              </a:bodyPr>
              <a:lstStyle>
                <a:defPPr>
                  <a:defRPr lang="de-DE"/>
                </a:defPPr>
                <a:lvl1pPr algn="ctr">
                  <a:buClr>
                    <a:schemeClr val="accent6"/>
                  </a:buClr>
                  <a:buSzPct val="140000"/>
                  <a:defRPr sz="1200">
                    <a:ea typeface="DIN-Regular" panose="020B0500010101010101" pitchFamily="34" charset="0"/>
                  </a:defRPr>
                </a:lvl1pPr>
              </a:lstStyle>
              <a:p>
                <a:r>
                  <a:rPr lang="de-DE" dirty="0">
                    <a:latin typeface="EnBW Sans Text" pitchFamily="50" charset="0"/>
                  </a:rPr>
                  <a:t>Heilbronn</a:t>
                </a:r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BABA79B4-B4AD-D00B-9BED-8851FE35E9A3}"/>
                  </a:ext>
                </a:extLst>
              </p:cNvPr>
              <p:cNvSpPr/>
              <p:nvPr/>
            </p:nvSpPr>
            <p:spPr bwMode="gray">
              <a:xfrm>
                <a:off x="10647681" y="6089282"/>
                <a:ext cx="84365" cy="84365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/>
                <a:endParaRPr lang="de-DE" sz="1600" err="1">
                  <a:solidFill>
                    <a:schemeClr val="tx1"/>
                  </a:solidFill>
                  <a:latin typeface="EnBW Sans Text" pitchFamily="50" charset="0"/>
                </a:endParaRP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2DF036E5-023C-6115-DDD5-E1D12319A28C}"/>
                </a:ext>
              </a:extLst>
            </p:cNvPr>
            <p:cNvGrpSpPr/>
            <p:nvPr/>
          </p:nvGrpSpPr>
          <p:grpSpPr>
            <a:xfrm>
              <a:off x="8260200" y="3779632"/>
              <a:ext cx="1120336" cy="264013"/>
              <a:chOff x="10128000" y="5909634"/>
              <a:chExt cx="1120336" cy="264013"/>
            </a:xfrm>
          </p:grpSpPr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35201B97-62D7-6C0F-A64B-1566ABC0B833}"/>
                  </a:ext>
                </a:extLst>
              </p:cNvPr>
              <p:cNvSpPr txBox="1"/>
              <p:nvPr/>
            </p:nvSpPr>
            <p:spPr bwMode="gray">
              <a:xfrm>
                <a:off x="10128000" y="5909634"/>
                <a:ext cx="1120336" cy="221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36000" rtlCol="0" anchor="b" anchorCtr="0">
                <a:spAutoFit/>
              </a:bodyPr>
              <a:lstStyle>
                <a:defPPr>
                  <a:defRPr lang="de-DE"/>
                </a:defPPr>
                <a:lvl1pPr algn="ctr">
                  <a:buClr>
                    <a:schemeClr val="accent6"/>
                  </a:buClr>
                  <a:buSzPct val="140000"/>
                  <a:defRPr sz="1200">
                    <a:ea typeface="DIN-Regular" panose="020B0500010101010101" pitchFamily="34" charset="0"/>
                  </a:defRPr>
                </a:lvl1pPr>
              </a:lstStyle>
              <a:p>
                <a:r>
                  <a:rPr lang="de-DE">
                    <a:latin typeface="EnBW Sans Text" pitchFamily="50" charset="0"/>
                  </a:rPr>
                  <a:t>Karlsruhe</a:t>
                </a:r>
              </a:p>
            </p:txBody>
          </p:sp>
          <p:sp>
            <p:nvSpPr>
              <p:cNvPr id="52" name="Ellipse 51">
                <a:extLst>
                  <a:ext uri="{FF2B5EF4-FFF2-40B4-BE49-F238E27FC236}">
                    <a16:creationId xmlns:a16="http://schemas.microsoft.com/office/drawing/2014/main" id="{CC24BB22-D9A3-2069-C98D-4D36EC352F71}"/>
                  </a:ext>
                </a:extLst>
              </p:cNvPr>
              <p:cNvSpPr/>
              <p:nvPr/>
            </p:nvSpPr>
            <p:spPr bwMode="gray">
              <a:xfrm>
                <a:off x="10647681" y="6089282"/>
                <a:ext cx="84365" cy="84365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/>
                <a:endParaRPr lang="de-DE" sz="1600" err="1">
                  <a:solidFill>
                    <a:schemeClr val="tx1"/>
                  </a:solidFill>
                  <a:latin typeface="EnBW Sans Text" pitchFamily="50" charset="0"/>
                </a:endParaRPr>
              </a:p>
            </p:txBody>
          </p:sp>
        </p:grp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4DC35A9B-C41F-C616-B0AF-5BFEE3562171}"/>
              </a:ext>
            </a:extLst>
          </p:cNvPr>
          <p:cNvGrpSpPr/>
          <p:nvPr/>
        </p:nvGrpSpPr>
        <p:grpSpPr>
          <a:xfrm>
            <a:off x="9007664" y="4184812"/>
            <a:ext cx="1120336" cy="300365"/>
            <a:chOff x="10128000" y="5873282"/>
            <a:chExt cx="1120336" cy="300365"/>
          </a:xfrm>
        </p:grpSpPr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99358F95-16A0-DF1B-112A-FF837FFA741F}"/>
                </a:ext>
              </a:extLst>
            </p:cNvPr>
            <p:cNvSpPr txBox="1"/>
            <p:nvPr/>
          </p:nvSpPr>
          <p:spPr bwMode="gray">
            <a:xfrm>
              <a:off x="10128000" y="5873282"/>
              <a:ext cx="1120336" cy="2210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>
              <a:defPPr>
                <a:defRPr lang="de-DE"/>
              </a:defPPr>
              <a:lvl1pPr algn="ctr">
                <a:buClr>
                  <a:schemeClr val="accent6"/>
                </a:buClr>
                <a:buSzPct val="140000"/>
                <a:defRPr sz="1200">
                  <a:ea typeface="DIN-Regular" panose="020B0500010101010101" pitchFamily="34" charset="0"/>
                </a:defRPr>
              </a:lvl1pPr>
            </a:lstStyle>
            <a:p>
              <a:r>
                <a:rPr lang="de-DE">
                  <a:latin typeface="EnBW Sans Text" pitchFamily="50" charset="0"/>
                </a:rPr>
                <a:t>Stuttgart</a:t>
              </a:r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ADC130F-F69D-A08C-7317-D8751F7514E8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  <a:latin typeface="EnBW Sans Text" pitchFamily="50" charset="0"/>
              </a:endParaRP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7A2BFAD-1B08-F2EE-9756-ABBD9A3138C1}"/>
              </a:ext>
            </a:extLst>
          </p:cNvPr>
          <p:cNvGrpSpPr/>
          <p:nvPr/>
        </p:nvGrpSpPr>
        <p:grpSpPr>
          <a:xfrm>
            <a:off x="8863664" y="4472812"/>
            <a:ext cx="1120336" cy="316326"/>
            <a:chOff x="10128000" y="6089282"/>
            <a:chExt cx="1120336" cy="316326"/>
          </a:xfrm>
        </p:grpSpPr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4BB00ADC-FB95-7E31-6830-204A5125A7BE}"/>
                </a:ext>
              </a:extLst>
            </p:cNvPr>
            <p:cNvSpPr txBox="1"/>
            <p:nvPr/>
          </p:nvSpPr>
          <p:spPr bwMode="gray">
            <a:xfrm>
              <a:off x="10128000" y="6148239"/>
              <a:ext cx="1120336" cy="25736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36000" rIns="0" bIns="36000" rtlCol="0" anchor="t" anchorCtr="0">
              <a:spAutoFit/>
            </a:bodyPr>
            <a:lstStyle/>
            <a:p>
              <a:pPr algn="ctr">
                <a:buClr>
                  <a:schemeClr val="accent6"/>
                </a:buClr>
                <a:buSzPct val="140000"/>
              </a:pPr>
              <a:r>
                <a:rPr lang="de-DE" sz="1200">
                  <a:latin typeface="EnBW Sans Text" pitchFamily="50" charset="0"/>
                  <a:ea typeface="DIN-Regular" panose="020B0500010101010101" pitchFamily="34" charset="0"/>
                </a:rPr>
                <a:t>Böblingen</a:t>
              </a:r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96CDCD5F-AA3B-B365-F07D-4E053281F471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  <a:latin typeface="EnBW Sans Text" pitchFamily="50" charset="0"/>
              </a:endParaRP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3BA2DF8-EC6E-AC9D-AE3F-B76148B7467F}"/>
              </a:ext>
            </a:extLst>
          </p:cNvPr>
          <p:cNvGrpSpPr/>
          <p:nvPr/>
        </p:nvGrpSpPr>
        <p:grpSpPr>
          <a:xfrm>
            <a:off x="9624000" y="4976812"/>
            <a:ext cx="1120336" cy="300365"/>
            <a:chOff x="10128000" y="5873282"/>
            <a:chExt cx="1120336" cy="300365"/>
          </a:xfrm>
        </p:grpSpPr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05ADF4D0-4DDE-280D-77EF-78E2B25DA25A}"/>
                </a:ext>
              </a:extLst>
            </p:cNvPr>
            <p:cNvSpPr txBox="1"/>
            <p:nvPr/>
          </p:nvSpPr>
          <p:spPr bwMode="gray">
            <a:xfrm>
              <a:off x="10128000" y="5873282"/>
              <a:ext cx="1120336" cy="2210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36000" rtlCol="0" anchor="b" anchorCtr="0">
              <a:spAutoFit/>
            </a:bodyPr>
            <a:lstStyle>
              <a:defPPr>
                <a:defRPr lang="de-DE"/>
              </a:defPPr>
              <a:lvl1pPr algn="ctr">
                <a:buClr>
                  <a:schemeClr val="accent6"/>
                </a:buClr>
                <a:buSzPct val="140000"/>
                <a:defRPr sz="1200">
                  <a:ea typeface="DIN-Regular" panose="020B0500010101010101" pitchFamily="34" charset="0"/>
                </a:defRPr>
              </a:lvl1pPr>
            </a:lstStyle>
            <a:p>
              <a:r>
                <a:rPr lang="de-DE">
                  <a:latin typeface="EnBW Sans Text" pitchFamily="50" charset="0"/>
                </a:rPr>
                <a:t>Biberach</a:t>
              </a:r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B06CA588-F7E0-AAA1-252F-8C9368C8E048}"/>
                </a:ext>
              </a:extLst>
            </p:cNvPr>
            <p:cNvSpPr/>
            <p:nvPr/>
          </p:nvSpPr>
          <p:spPr bwMode="gray">
            <a:xfrm>
              <a:off x="10647681" y="6089282"/>
              <a:ext cx="84365" cy="84365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err="1">
                <a:solidFill>
                  <a:schemeClr val="tx1"/>
                </a:solidFill>
                <a:latin typeface="EnBW Sans Text" pitchFamily="50" charset="0"/>
              </a:endParaRPr>
            </a:p>
          </p:txBody>
        </p:sp>
      </p:grp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794696B1-1FE5-0A6E-72F0-2F6829DB0AF4}"/>
              </a:ext>
            </a:extLst>
          </p:cNvPr>
          <p:cNvCxnSpPr/>
          <p:nvPr/>
        </p:nvCxnSpPr>
        <p:spPr>
          <a:xfrm>
            <a:off x="7248000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fik 73">
            <a:extLst>
              <a:ext uri="{FF2B5EF4-FFF2-40B4-BE49-F238E27FC236}">
                <a16:creationId xmlns:a16="http://schemas.microsoft.com/office/drawing/2014/main" id="{579E97F2-DDC0-E0EA-73FF-EB975E07D6D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22267" y="3717000"/>
            <a:ext cx="6144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3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8F9319-9D3F-5979-9BCB-C29637311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F9319-9D3F-5979-9BCB-C29637311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24DEFDFE-1B45-0BF1-76D4-DC57476FC7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041" y="1101795"/>
            <a:ext cx="4732934" cy="4854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8D647CC0-9A37-9E5F-C072-447A39869468}"/>
              </a:ext>
            </a:extLst>
          </p:cNvPr>
          <p:cNvSpPr/>
          <p:nvPr/>
        </p:nvSpPr>
        <p:spPr>
          <a:xfrm>
            <a:off x="0" y="-2"/>
            <a:ext cx="7212124" cy="6858002"/>
          </a:xfrm>
          <a:custGeom>
            <a:avLst/>
            <a:gdLst>
              <a:gd name="connsiteX0" fmla="*/ 0 w 7212124"/>
              <a:gd name="connsiteY0" fmla="*/ 0 h 6858002"/>
              <a:gd name="connsiteX1" fmla="*/ 3359696 w 7212124"/>
              <a:gd name="connsiteY1" fmla="*/ 0 h 6858002"/>
              <a:gd name="connsiteX2" fmla="*/ 3359696 w 7212124"/>
              <a:gd name="connsiteY2" fmla="*/ 3 h 6858002"/>
              <a:gd name="connsiteX3" fmla="*/ 5110795 w 7212124"/>
              <a:gd name="connsiteY3" fmla="*/ 3 h 6858002"/>
              <a:gd name="connsiteX4" fmla="*/ 6765476 w 7212124"/>
              <a:gd name="connsiteY4" fmla="*/ 1654685 h 6858002"/>
              <a:gd name="connsiteX5" fmla="*/ 7212124 w 7212124"/>
              <a:gd name="connsiteY5" fmla="*/ 2732972 h 6858002"/>
              <a:gd name="connsiteX6" fmla="*/ 6765142 w 7212124"/>
              <a:gd name="connsiteY6" fmla="*/ 3811591 h 6858002"/>
              <a:gd name="connsiteX7" fmla="*/ 3718732 w 7212124"/>
              <a:gd name="connsiteY7" fmla="*/ 6858002 h 6858002"/>
              <a:gd name="connsiteX8" fmla="*/ 123555 w 7212124"/>
              <a:gd name="connsiteY8" fmla="*/ 6858002 h 6858002"/>
              <a:gd name="connsiteX9" fmla="*/ 123557 w 7212124"/>
              <a:gd name="connsiteY9" fmla="*/ 6858000 h 6858002"/>
              <a:gd name="connsiteX10" fmla="*/ 0 w 7212124"/>
              <a:gd name="connsiteY10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12124" h="6858002">
                <a:moveTo>
                  <a:pt x="0" y="0"/>
                </a:moveTo>
                <a:lnTo>
                  <a:pt x="3359696" y="0"/>
                </a:lnTo>
                <a:lnTo>
                  <a:pt x="3359696" y="3"/>
                </a:lnTo>
                <a:lnTo>
                  <a:pt x="5110795" y="3"/>
                </a:lnTo>
                <a:lnTo>
                  <a:pt x="6765476" y="1654685"/>
                </a:lnTo>
                <a:cubicBezTo>
                  <a:pt x="7053465" y="1942672"/>
                  <a:pt x="7212124" y="2325656"/>
                  <a:pt x="7212124" y="2732972"/>
                </a:cubicBezTo>
                <a:cubicBezTo>
                  <a:pt x="7212124" y="3140287"/>
                  <a:pt x="7053465" y="3523603"/>
                  <a:pt x="6765142" y="3811591"/>
                </a:cubicBezTo>
                <a:lnTo>
                  <a:pt x="3718732" y="6858002"/>
                </a:lnTo>
                <a:lnTo>
                  <a:pt x="123555" y="6858002"/>
                </a:lnTo>
                <a:lnTo>
                  <a:pt x="12355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3EFEC"/>
          </a:solidFill>
          <a:ln w="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8598E33D-1878-0F89-990F-DFDF4C3E5C80}"/>
              </a:ext>
            </a:extLst>
          </p:cNvPr>
          <p:cNvSpPr/>
          <p:nvPr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0 w 4331804"/>
              <a:gd name="connsiteY0" fmla="*/ 6319154 h 6319154"/>
              <a:gd name="connsiteX1" fmla="*/ 8848 w 4331804"/>
              <a:gd name="connsiteY1" fmla="*/ 6319154 h 6319154"/>
              <a:gd name="connsiteX2" fmla="*/ 1559496 w 4331804"/>
              <a:gd name="connsiteY2" fmla="*/ 6319154 h 6319154"/>
              <a:gd name="connsiteX3" fmla="*/ 3604025 w 4331804"/>
              <a:gd name="connsiteY3" fmla="*/ 6319154 h 6319154"/>
              <a:gd name="connsiteX4" fmla="*/ 3884822 w 4331804"/>
              <a:gd name="connsiteY4" fmla="*/ 6038357 h 6319154"/>
              <a:gd name="connsiteX5" fmla="*/ 4331804 w 4331804"/>
              <a:gd name="connsiteY5" fmla="*/ 4959736 h 6319154"/>
              <a:gd name="connsiteX6" fmla="*/ 3885156 w 4331804"/>
              <a:gd name="connsiteY6" fmla="*/ 3881449 h 6319154"/>
              <a:gd name="connsiteX7" fmla="*/ 860398 w 4331804"/>
              <a:gd name="connsiteY7" fmla="*/ 856691 h 6319154"/>
              <a:gd name="connsiteX8" fmla="*/ 856691 w 4331804"/>
              <a:gd name="connsiteY8" fmla="*/ 856691 h 6319154"/>
              <a:gd name="connsiteX9" fmla="*/ 0 w 4331804"/>
              <a:gd name="connsiteY9" fmla="*/ 0 h 6319154"/>
              <a:gd name="connsiteX10" fmla="*/ 0 w 4331804"/>
              <a:gd name="connsiteY10" fmla="*/ 3034616 h 6319154"/>
              <a:gd name="connsiteX11" fmla="*/ 0 w 4331804"/>
              <a:gd name="connsiteY11" fmla="*/ 3590805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6319154"/>
                </a:moveTo>
                <a:lnTo>
                  <a:pt x="8848" y="6319154"/>
                </a:lnTo>
                <a:lnTo>
                  <a:pt x="1559496" y="6319154"/>
                </a:ln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034616"/>
                </a:lnTo>
                <a:lnTo>
                  <a:pt x="0" y="3590805"/>
                </a:lnTo>
                <a:close/>
              </a:path>
            </a:pathLst>
          </a:custGeom>
          <a:solidFill>
            <a:srgbClr val="F3EFEC"/>
          </a:solidFill>
          <a:ln w="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73221FA-B58A-90A3-2C91-A64332998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us der Region für</a:t>
            </a:r>
            <a:br>
              <a:rPr lang="de-DE" b="1" dirty="0">
                <a:latin typeface="EnBW Sans Headline" pitchFamily="50" charset="0"/>
                <a:ea typeface="EnBW Sans Headline" pitchFamily="50" charset="0"/>
              </a:rPr>
            </a:b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die Regio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BB59D7-8583-EB15-6987-471210FC2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</a:t>
            </a:fld>
            <a:endParaRPr lang="de-DE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86FFABF-2D92-4930-E0C9-E0E038EE206E}"/>
              </a:ext>
            </a:extLst>
          </p:cNvPr>
          <p:cNvGrpSpPr/>
          <p:nvPr/>
        </p:nvGrpSpPr>
        <p:grpSpPr>
          <a:xfrm>
            <a:off x="407987" y="3611344"/>
            <a:ext cx="4210392" cy="2088579"/>
            <a:chOff x="3991273" y="3573016"/>
            <a:chExt cx="4210392" cy="2088579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6F598200-D44E-70C8-80BA-E59C96EEB89E}"/>
                </a:ext>
              </a:extLst>
            </p:cNvPr>
            <p:cNvGrpSpPr/>
            <p:nvPr/>
          </p:nvGrpSpPr>
          <p:grpSpPr>
            <a:xfrm>
              <a:off x="4007769" y="3573016"/>
              <a:ext cx="2122778" cy="1277642"/>
              <a:chOff x="407987" y="2131144"/>
              <a:chExt cx="3007221" cy="1277642"/>
            </a:xfrm>
          </p:grpSpPr>
          <p:sp>
            <p:nvSpPr>
              <p:cNvPr id="10" name="object 31">
                <a:extLst>
                  <a:ext uri="{FF2B5EF4-FFF2-40B4-BE49-F238E27FC236}">
                    <a16:creationId xmlns:a16="http://schemas.microsoft.com/office/drawing/2014/main" id="{E9B71E48-A773-020E-3BD3-D621AEDAF6D1}"/>
                  </a:ext>
                </a:extLst>
              </p:cNvPr>
              <p:cNvSpPr txBox="1"/>
              <p:nvPr/>
            </p:nvSpPr>
            <p:spPr>
              <a:xfrm>
                <a:off x="407988" y="2131144"/>
                <a:ext cx="2962363" cy="844462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5400" spc="-25">
                    <a:solidFill>
                      <a:schemeClr val="bg2"/>
                    </a:solidFill>
                    <a:latin typeface="EnBW Sans Text" pitchFamily="50" charset="0"/>
                    <a:cs typeface="DIN Offc Pro"/>
                  </a:rPr>
                  <a:t>426</a:t>
                </a:r>
                <a:endParaRPr lang="de-DE">
                  <a:solidFill>
                    <a:schemeClr val="bg2"/>
                  </a:solidFill>
                  <a:latin typeface="EnBW Sans Text" pitchFamily="50" charset="0"/>
                  <a:cs typeface="DIN Offc Pro"/>
                </a:endParaRPr>
              </a:p>
            </p:txBody>
          </p:sp>
          <p:sp>
            <p:nvSpPr>
              <p:cNvPr id="11" name="object 32">
                <a:extLst>
                  <a:ext uri="{FF2B5EF4-FFF2-40B4-BE49-F238E27FC236}">
                    <a16:creationId xmlns:a16="http://schemas.microsoft.com/office/drawing/2014/main" id="{A66D8A32-20A8-7CB8-C48D-36D569BDE004}"/>
                  </a:ext>
                </a:extLst>
              </p:cNvPr>
              <p:cNvSpPr txBox="1"/>
              <p:nvPr/>
            </p:nvSpPr>
            <p:spPr>
              <a:xfrm>
                <a:off x="407987" y="2903519"/>
                <a:ext cx="3007221" cy="50526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>
                    <a:solidFill>
                      <a:srgbClr val="3A3A3A"/>
                    </a:solidFill>
                    <a:latin typeface="EnBW Sans Text" pitchFamily="50" charset="0"/>
                    <a:cs typeface="DIN Offc Pro"/>
                  </a:rPr>
                  <a:t>Kommunen</a:t>
                </a:r>
                <a:br>
                  <a:rPr lang="de-DE" sz="1600" dirty="0">
                    <a:solidFill>
                      <a:srgbClr val="3A3A3A"/>
                    </a:solidFill>
                    <a:latin typeface="EnBW Sans Text" pitchFamily="50" charset="0"/>
                    <a:cs typeface="DIN Offc Pro"/>
                  </a:rPr>
                </a:br>
                <a:r>
                  <a:rPr lang="de-DE" sz="1600" dirty="0">
                    <a:solidFill>
                      <a:srgbClr val="3A3A3A"/>
                    </a:solidFill>
                    <a:latin typeface="EnBW Sans Text" pitchFamily="50" charset="0"/>
                    <a:cs typeface="DIN Offc Pro"/>
                  </a:rPr>
                  <a:t>erschlossen</a:t>
                </a:r>
                <a:endParaRPr lang="de-DE" sz="2000" b="1" dirty="0">
                  <a:latin typeface="EnBW Sans Text" pitchFamily="50" charset="0"/>
                  <a:cs typeface="DIN Offc Pro"/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A2BC8252-E6BE-B015-C076-283A3B63B471}"/>
                </a:ext>
              </a:extLst>
            </p:cNvPr>
            <p:cNvGrpSpPr/>
            <p:nvPr/>
          </p:nvGrpSpPr>
          <p:grpSpPr>
            <a:xfrm>
              <a:off x="6078887" y="3573016"/>
              <a:ext cx="2122778" cy="1277642"/>
              <a:chOff x="24646" y="2131144"/>
              <a:chExt cx="3007221" cy="1277642"/>
            </a:xfrm>
          </p:grpSpPr>
          <p:sp>
            <p:nvSpPr>
              <p:cNvPr id="13" name="object 31">
                <a:extLst>
                  <a:ext uri="{FF2B5EF4-FFF2-40B4-BE49-F238E27FC236}">
                    <a16:creationId xmlns:a16="http://schemas.microsoft.com/office/drawing/2014/main" id="{04003A14-BB92-F9E7-7681-F4932F6A7624}"/>
                  </a:ext>
                </a:extLst>
              </p:cNvPr>
              <p:cNvSpPr txBox="1"/>
              <p:nvPr/>
            </p:nvSpPr>
            <p:spPr>
              <a:xfrm>
                <a:off x="24647" y="2131144"/>
                <a:ext cx="2962363" cy="844462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5400" spc="-25">
                    <a:solidFill>
                      <a:schemeClr val="tx2"/>
                    </a:solidFill>
                    <a:latin typeface="EnBW Sans Text" pitchFamily="50" charset="0"/>
                    <a:cs typeface="DIN Offc Pro"/>
                  </a:rPr>
                  <a:t>44</a:t>
                </a:r>
                <a:endParaRPr lang="de-DE">
                  <a:solidFill>
                    <a:schemeClr val="tx2"/>
                  </a:solidFill>
                  <a:latin typeface="EnBW Sans Text" pitchFamily="50" charset="0"/>
                  <a:cs typeface="DIN Offc Pro"/>
                </a:endParaRPr>
              </a:p>
            </p:txBody>
          </p:sp>
          <p:sp>
            <p:nvSpPr>
              <p:cNvPr id="14" name="object 32">
                <a:extLst>
                  <a:ext uri="{FF2B5EF4-FFF2-40B4-BE49-F238E27FC236}">
                    <a16:creationId xmlns:a16="http://schemas.microsoft.com/office/drawing/2014/main" id="{E74386C7-C122-4A80-A23A-66F0C0F3C4F7}"/>
                  </a:ext>
                </a:extLst>
              </p:cNvPr>
              <p:cNvSpPr txBox="1"/>
              <p:nvPr/>
            </p:nvSpPr>
            <p:spPr>
              <a:xfrm>
                <a:off x="24646" y="2903519"/>
                <a:ext cx="3007221" cy="50526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>
                    <a:latin typeface="EnBW Sans Text" pitchFamily="50" charset="0"/>
                    <a:cs typeface="DIN Offc Pro"/>
                  </a:rPr>
                  <a:t>Kommunen</a:t>
                </a:r>
                <a:br>
                  <a:rPr lang="de-DE" sz="1600" spc="225">
                    <a:latin typeface="EnBW Sans Text" pitchFamily="50" charset="0"/>
                    <a:cs typeface="DIN Offc Pro"/>
                  </a:rPr>
                </a:br>
                <a:r>
                  <a:rPr lang="de-DE" sz="1600">
                    <a:latin typeface="EnBW Sans Text" pitchFamily="50" charset="0"/>
                    <a:cs typeface="DIN Offc Pro"/>
                  </a:rPr>
                  <a:t>im</a:t>
                </a:r>
                <a:r>
                  <a:rPr lang="de-DE" sz="1600" spc="65">
                    <a:latin typeface="EnBW Sans Text" pitchFamily="50" charset="0"/>
                    <a:cs typeface="DIN Offc Pro"/>
                  </a:rPr>
                  <a:t> </a:t>
                </a:r>
                <a:r>
                  <a:rPr lang="de-DE" sz="1600" spc="-10">
                    <a:latin typeface="EnBW Sans Text" pitchFamily="50" charset="0"/>
                    <a:cs typeface="DIN Offc Pro"/>
                  </a:rPr>
                  <a:t>Ausbau</a:t>
                </a:r>
                <a:endParaRPr lang="de-DE" sz="2000" b="1">
                  <a:latin typeface="EnBW Sans Text" pitchFamily="50" charset="0"/>
                  <a:cs typeface="DIN Offc Pro"/>
                </a:endParaRPr>
              </a:p>
            </p:txBody>
          </p:sp>
        </p:grp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4B0E6190-B005-A376-3768-9962F677A1A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78886" y="5013176"/>
              <a:ext cx="648419" cy="648419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25081A15-4731-708A-2EB3-305CE57451A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91273" y="5085184"/>
              <a:ext cx="720080" cy="576064"/>
            </a:xfrm>
            <a:prstGeom prst="rect">
              <a:avLst/>
            </a:prstGeom>
          </p:spPr>
        </p:pic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58FB9A2A-0FF7-460F-01D8-D25B58729D0B}"/>
                </a:ext>
              </a:extLst>
            </p:cNvPr>
            <p:cNvCxnSpPr>
              <a:cxnSpLocks/>
            </p:cNvCxnSpPr>
            <p:nvPr/>
          </p:nvCxnSpPr>
          <p:spPr>
            <a:xfrm>
              <a:off x="5646838" y="3753396"/>
              <a:ext cx="0" cy="190785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14">
            <a:extLst>
              <a:ext uri="{FF2B5EF4-FFF2-40B4-BE49-F238E27FC236}">
                <a16:creationId xmlns:a16="http://schemas.microsoft.com/office/drawing/2014/main" id="{C8469843-8925-833D-81DC-57E4D481E7C1}"/>
              </a:ext>
            </a:extLst>
          </p:cNvPr>
          <p:cNvSpPr/>
          <p:nvPr/>
        </p:nvSpPr>
        <p:spPr bwMode="gray">
          <a:xfrm>
            <a:off x="407987" y="2852936"/>
            <a:ext cx="640809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 b="1" dirty="0">
                <a:latin typeface="EnBW Sans Text" pitchFamily="50" charset="0"/>
                <a:cs typeface="EnBW DIN Pro" panose="020B0504020101020102" pitchFamily="34" charset="0"/>
              </a:rPr>
              <a:t>der Kommunen Baden-Württembergs und im angrenzenden Bayern </a:t>
            </a:r>
            <a:r>
              <a:rPr lang="de-DE" sz="1600" dirty="0">
                <a:latin typeface="EnBW Sans Text" pitchFamily="50" charset="0"/>
                <a:cs typeface="EnBW DIN Pro" panose="020B0504020101020102" pitchFamily="34" charset="0"/>
              </a:rPr>
              <a:t>erfolgreich mit gigabitfähiger Glasfasertechnologie aktiv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E7C20DD-BD0A-A844-BF0C-9A6D89E36610}"/>
              </a:ext>
            </a:extLst>
          </p:cNvPr>
          <p:cNvSpPr txBox="1"/>
          <p:nvPr/>
        </p:nvSpPr>
        <p:spPr>
          <a:xfrm>
            <a:off x="407986" y="2350763"/>
            <a:ext cx="3744000" cy="615553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r>
              <a:rPr lang="de-DE" sz="1600" dirty="0">
                <a:latin typeface="EnBW Sans Text" pitchFamily="50" charset="0"/>
                <a:cs typeface="EnBW DIN Pro" panose="020B0504020101020102" pitchFamily="34" charset="0"/>
              </a:rPr>
              <a:t>In</a:t>
            </a:r>
            <a:r>
              <a:rPr kumimoji="0" lang="de-DE" sz="9600" b="0" i="0" u="none" strike="noStrike" kern="1200" cap="none" spc="-25" normalizeH="0" baseline="0" noProof="0" dirty="0">
                <a:ln>
                  <a:noFill/>
                </a:ln>
                <a:solidFill>
                  <a:srgbClr val="FE8F11"/>
                </a:solidFill>
                <a:effectLst/>
                <a:uLnTx/>
                <a:uFillTx/>
                <a:latin typeface="EnBW Sans Text" pitchFamily="50" charset="0"/>
                <a:cs typeface="DIN Offc Pro"/>
              </a:rPr>
              <a:t> 40 %</a:t>
            </a:r>
            <a:endParaRPr lang="de-DE" sz="4000" dirty="0">
              <a:latin typeface="EnBW Sans Text" pitchFamily="50" charset="0"/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F879DE29-6165-A11C-D435-096A55EA8727}"/>
              </a:ext>
            </a:extLst>
          </p:cNvPr>
          <p:cNvSpPr/>
          <p:nvPr/>
        </p:nvSpPr>
        <p:spPr>
          <a:xfrm flipH="1">
            <a:off x="9756360" y="5250918"/>
            <a:ext cx="2435640" cy="1607082"/>
          </a:xfrm>
          <a:custGeom>
            <a:avLst/>
            <a:gdLst>
              <a:gd name="connsiteX0" fmla="*/ 723562 w 2435640"/>
              <a:gd name="connsiteY0" fmla="*/ 0 h 1607082"/>
              <a:gd name="connsiteX1" fmla="*/ 543903 w 2435640"/>
              <a:gd name="connsiteY1" fmla="*/ 74330 h 1607082"/>
              <a:gd name="connsiteX2" fmla="*/ 0 w 2435640"/>
              <a:gd name="connsiteY2" fmla="*/ 618233 h 1607082"/>
              <a:gd name="connsiteX3" fmla="*/ 0 w 2435640"/>
              <a:gd name="connsiteY3" fmla="*/ 1217208 h 1607082"/>
              <a:gd name="connsiteX4" fmla="*/ 723896 w 2435640"/>
              <a:gd name="connsiteY4" fmla="*/ 493312 h 1607082"/>
              <a:gd name="connsiteX5" fmla="*/ 1837665 w 2435640"/>
              <a:gd name="connsiteY5" fmla="*/ 1607082 h 1607082"/>
              <a:gd name="connsiteX6" fmla="*/ 2435640 w 2435640"/>
              <a:gd name="connsiteY6" fmla="*/ 1607082 h 1607082"/>
              <a:gd name="connsiteX7" fmla="*/ 903222 w 2435640"/>
              <a:gd name="connsiteY7" fmla="*/ 74664 h 1607082"/>
              <a:gd name="connsiteX8" fmla="*/ 723562 w 2435640"/>
              <a:gd name="connsiteY8" fmla="*/ 0 h 1607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5640" h="1607082">
                <a:moveTo>
                  <a:pt x="723562" y="0"/>
                </a:moveTo>
                <a:cubicBezTo>
                  <a:pt x="655897" y="0"/>
                  <a:pt x="591901" y="26332"/>
                  <a:pt x="543903" y="74330"/>
                </a:cubicBezTo>
                <a:lnTo>
                  <a:pt x="0" y="618233"/>
                </a:lnTo>
                <a:lnTo>
                  <a:pt x="0" y="1217208"/>
                </a:lnTo>
                <a:lnTo>
                  <a:pt x="723896" y="493312"/>
                </a:lnTo>
                <a:lnTo>
                  <a:pt x="1837665" y="1607082"/>
                </a:lnTo>
                <a:lnTo>
                  <a:pt x="2435640" y="1607082"/>
                </a:lnTo>
                <a:lnTo>
                  <a:pt x="903222" y="74664"/>
                </a:lnTo>
                <a:cubicBezTo>
                  <a:pt x="855224" y="26332"/>
                  <a:pt x="791225" y="0"/>
                  <a:pt x="723562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466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09EC20B6-4BD7-4E21-0708-D7A358E9F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EC20B6-4BD7-4E21-0708-D7A358E9F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2D97C22-C2B1-A627-594A-7B66B7DAE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W</a:t>
            </a:r>
            <a:r>
              <a:rPr lang="de-DE" b="1" dirty="0" err="1">
                <a:latin typeface="EnBW Sans Headline" pitchFamily="50" charset="0"/>
                <a:ea typeface="EnBW Sans Headline" pitchFamily="50" charset="0"/>
              </a:rPr>
              <a:t>ir</a:t>
            </a: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 bringen Sie ans Highspeed-Netz</a:t>
            </a:r>
          </a:p>
        </p:txBody>
      </p:sp>
      <p:sp>
        <p:nvSpPr>
          <p:cNvPr id="266" name="Inhaltsplatzhalter 265">
            <a:extLst>
              <a:ext uri="{FF2B5EF4-FFF2-40B4-BE49-F238E27FC236}">
                <a16:creationId xmlns:a16="http://schemas.microsoft.com/office/drawing/2014/main" id="{7B0F86A1-2EE5-F602-F218-32D75A3B7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696621"/>
            <a:ext cx="3675216" cy="4429126"/>
          </a:xfrm>
        </p:spPr>
        <p:txBody>
          <a:bodyPr/>
          <a:lstStyle/>
          <a:p>
            <a:pPr lvl="1"/>
            <a:r>
              <a:rPr lang="de-DE" dirty="0"/>
              <a:t>Fokussierung auf die langfristige Erschließung von Gebäuden</a:t>
            </a:r>
            <a:br>
              <a:rPr lang="de-DE" dirty="0"/>
            </a:br>
            <a:r>
              <a:rPr lang="de-DE" dirty="0"/>
              <a:t>(FTTB – Fibe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uilding) und</a:t>
            </a:r>
            <a:br>
              <a:rPr lang="de-DE" dirty="0"/>
            </a:br>
            <a:r>
              <a:rPr lang="de-DE" dirty="0"/>
              <a:t>Wohnungen (FTTH – Fibe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Home) direkt per Glasfaser für Bandbreiten bis zu 10 Gbit/s</a:t>
            </a: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Verbesserung bestehender Internet-anschlüsse mit übergangsweisem Ausbau von Glasfaser bis zum örtlichen Kabelverzweiger (KVz)</a:t>
            </a:r>
            <a:br>
              <a:rPr lang="de-DE" dirty="0"/>
            </a:br>
            <a:r>
              <a:rPr lang="de-DE" dirty="0"/>
              <a:t>(FTTC – Fibe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b</a:t>
            </a:r>
            <a:r>
              <a:rPr lang="de-DE" dirty="0"/>
              <a:t>) für stabilere und zuverlässigere Bandbreiten</a:t>
            </a:r>
          </a:p>
        </p:txBody>
      </p:sp>
      <p:sp>
        <p:nvSpPr>
          <p:cNvPr id="269" name="Fußzeilenplatzhalter 268">
            <a:extLst>
              <a:ext uri="{FF2B5EF4-FFF2-40B4-BE49-F238E27FC236}">
                <a16:creationId xmlns:a16="http://schemas.microsoft.com/office/drawing/2014/main" id="{FE9372E5-C7D8-85B9-DBDB-168ADF4AD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Bereit fürs Glasfaserland? | Dezember 2025</a:t>
            </a:r>
          </a:p>
        </p:txBody>
      </p:sp>
      <p:sp>
        <p:nvSpPr>
          <p:cNvPr id="270" name="Foliennummernplatzhalter 269">
            <a:extLst>
              <a:ext uri="{FF2B5EF4-FFF2-40B4-BE49-F238E27FC236}">
                <a16:creationId xmlns:a16="http://schemas.microsoft.com/office/drawing/2014/main" id="{E82206E5-1B94-8282-F8DC-511DAF075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B647B61-3195-BD0E-DBAD-83FF9F82B0B4}"/>
              </a:ext>
            </a:extLst>
          </p:cNvPr>
          <p:cNvSpPr/>
          <p:nvPr/>
        </p:nvSpPr>
        <p:spPr>
          <a:xfrm>
            <a:off x="0" y="6319994"/>
            <a:ext cx="12191999" cy="538006"/>
          </a:xfrm>
          <a:custGeom>
            <a:avLst/>
            <a:gdLst>
              <a:gd name="connsiteX0" fmla="*/ 0 w 12517469"/>
              <a:gd name="connsiteY0" fmla="*/ 0 h 1075995"/>
              <a:gd name="connsiteX1" fmla="*/ 12517469 w 12517469"/>
              <a:gd name="connsiteY1" fmla="*/ 0 h 1075995"/>
              <a:gd name="connsiteX2" fmla="*/ 12517469 w 12517469"/>
              <a:gd name="connsiteY2" fmla="*/ 1075996 h 1075995"/>
              <a:gd name="connsiteX3" fmla="*/ 0 w 12517469"/>
              <a:gd name="connsiteY3" fmla="*/ 1075996 h 1075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17469" h="1075995">
                <a:moveTo>
                  <a:pt x="0" y="0"/>
                </a:moveTo>
                <a:lnTo>
                  <a:pt x="12517469" y="0"/>
                </a:lnTo>
                <a:lnTo>
                  <a:pt x="12517469" y="1075996"/>
                </a:lnTo>
                <a:lnTo>
                  <a:pt x="0" y="1075996"/>
                </a:lnTo>
                <a:close/>
              </a:path>
            </a:pathLst>
          </a:custGeom>
          <a:solidFill>
            <a:srgbClr val="CBA67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181" name="Gruppieren 180">
            <a:extLst>
              <a:ext uri="{FF2B5EF4-FFF2-40B4-BE49-F238E27FC236}">
                <a16:creationId xmlns:a16="http://schemas.microsoft.com/office/drawing/2014/main" id="{11674B93-36FE-9280-A8F6-6511415FC78A}"/>
              </a:ext>
            </a:extLst>
          </p:cNvPr>
          <p:cNvGrpSpPr/>
          <p:nvPr/>
        </p:nvGrpSpPr>
        <p:grpSpPr>
          <a:xfrm>
            <a:off x="9463117" y="6477719"/>
            <a:ext cx="207241" cy="45425"/>
            <a:chOff x="6725972" y="6019227"/>
            <a:chExt cx="295792" cy="64835"/>
          </a:xfrm>
        </p:grpSpPr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301506BA-BA6F-2A14-EEE1-F6B6830189AE}"/>
                </a:ext>
              </a:extLst>
            </p:cNvPr>
            <p:cNvSpPr/>
            <p:nvPr/>
          </p:nvSpPr>
          <p:spPr>
            <a:xfrm>
              <a:off x="6930387" y="6019517"/>
              <a:ext cx="75614" cy="32195"/>
            </a:xfrm>
            <a:custGeom>
              <a:avLst/>
              <a:gdLst>
                <a:gd name="connsiteX0" fmla="*/ 0 w 19249"/>
                <a:gd name="connsiteY0" fmla="*/ 0 h 8196"/>
                <a:gd name="connsiteX1" fmla="*/ 19250 w 19249"/>
                <a:gd name="connsiteY1" fmla="*/ 0 h 8196"/>
                <a:gd name="connsiteX2" fmla="*/ 19250 w 19249"/>
                <a:gd name="connsiteY2" fmla="*/ 8197 h 8196"/>
                <a:gd name="connsiteX3" fmla="*/ 0 w 19249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9" h="8196">
                  <a:moveTo>
                    <a:pt x="0" y="0"/>
                  </a:moveTo>
                  <a:lnTo>
                    <a:pt x="19250" y="0"/>
                  </a:lnTo>
                  <a:lnTo>
                    <a:pt x="19250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FDC83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26111B04-7D85-A6BF-E89D-464EAB056E80}"/>
                </a:ext>
              </a:extLst>
            </p:cNvPr>
            <p:cNvSpPr/>
            <p:nvPr/>
          </p:nvSpPr>
          <p:spPr>
            <a:xfrm>
              <a:off x="6928639" y="6051717"/>
              <a:ext cx="77362" cy="32195"/>
            </a:xfrm>
            <a:custGeom>
              <a:avLst/>
              <a:gdLst>
                <a:gd name="connsiteX0" fmla="*/ 0 w 19694"/>
                <a:gd name="connsiteY0" fmla="*/ 0 h 8196"/>
                <a:gd name="connsiteX1" fmla="*/ 19695 w 19694"/>
                <a:gd name="connsiteY1" fmla="*/ 0 h 8196"/>
                <a:gd name="connsiteX2" fmla="*/ 19695 w 19694"/>
                <a:gd name="connsiteY2" fmla="*/ 8197 h 8196"/>
                <a:gd name="connsiteX3" fmla="*/ 0 w 1969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4" h="8196">
                  <a:moveTo>
                    <a:pt x="0" y="0"/>
                  </a:moveTo>
                  <a:lnTo>
                    <a:pt x="19695" y="0"/>
                  </a:lnTo>
                  <a:lnTo>
                    <a:pt x="1969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B488AFB5-BBB5-0B0C-1488-DA59B79E9DFC}"/>
                </a:ext>
              </a:extLst>
            </p:cNvPr>
            <p:cNvSpPr/>
            <p:nvPr/>
          </p:nvSpPr>
          <p:spPr>
            <a:xfrm>
              <a:off x="6923104" y="6035544"/>
              <a:ext cx="54343" cy="32195"/>
            </a:xfrm>
            <a:custGeom>
              <a:avLst/>
              <a:gdLst>
                <a:gd name="connsiteX0" fmla="*/ 0 w 13834"/>
                <a:gd name="connsiteY0" fmla="*/ 0 h 8196"/>
                <a:gd name="connsiteX1" fmla="*/ 13835 w 13834"/>
                <a:gd name="connsiteY1" fmla="*/ 0 h 8196"/>
                <a:gd name="connsiteX2" fmla="*/ 13835 w 13834"/>
                <a:gd name="connsiteY2" fmla="*/ 8197 h 8196"/>
                <a:gd name="connsiteX3" fmla="*/ 0 w 1383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4" h="8196">
                  <a:moveTo>
                    <a:pt x="0" y="0"/>
                  </a:moveTo>
                  <a:lnTo>
                    <a:pt x="13835" y="0"/>
                  </a:lnTo>
                  <a:lnTo>
                    <a:pt x="1383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00024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FB6767C3-5185-C115-EA4D-5262E44D93FA}"/>
                </a:ext>
              </a:extLst>
            </p:cNvPr>
            <p:cNvSpPr/>
            <p:nvPr/>
          </p:nvSpPr>
          <p:spPr>
            <a:xfrm>
              <a:off x="6967685" y="6041810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D67913DF-2D4F-F296-F621-0F7BB7CC1647}"/>
                </a:ext>
              </a:extLst>
            </p:cNvPr>
            <p:cNvSpPr/>
            <p:nvPr/>
          </p:nvSpPr>
          <p:spPr>
            <a:xfrm>
              <a:off x="6961569" y="6035690"/>
              <a:ext cx="32195" cy="32341"/>
            </a:xfrm>
            <a:custGeom>
              <a:avLst/>
              <a:gdLst>
                <a:gd name="connsiteX0" fmla="*/ 4117 w 8196"/>
                <a:gd name="connsiteY0" fmla="*/ 0 h 8233"/>
                <a:gd name="connsiteX1" fmla="*/ 0 w 8196"/>
                <a:gd name="connsiteY1" fmla="*/ 4117 h 8233"/>
                <a:gd name="connsiteX2" fmla="*/ 4117 w 8196"/>
                <a:gd name="connsiteY2" fmla="*/ 8234 h 8233"/>
                <a:gd name="connsiteX3" fmla="*/ 8197 w 8196"/>
                <a:gd name="connsiteY3" fmla="*/ 4117 h 8233"/>
                <a:gd name="connsiteX4" fmla="*/ 4117 w 8196"/>
                <a:gd name="connsiteY4" fmla="*/ 0 h 8233"/>
                <a:gd name="connsiteX5" fmla="*/ 4117 w 8196"/>
                <a:gd name="connsiteY5" fmla="*/ 1855 h 8233"/>
                <a:gd name="connsiteX6" fmla="*/ 6342 w 8196"/>
                <a:gd name="connsiteY6" fmla="*/ 4080 h 8233"/>
                <a:gd name="connsiteX7" fmla="*/ 4117 w 8196"/>
                <a:gd name="connsiteY7" fmla="*/ 6305 h 8233"/>
                <a:gd name="connsiteX8" fmla="*/ 1892 w 8196"/>
                <a:gd name="connsiteY8" fmla="*/ 4080 h 8233"/>
                <a:gd name="connsiteX9" fmla="*/ 4117 w 8196"/>
                <a:gd name="connsiteY9" fmla="*/ 1855 h 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6" h="8233">
                  <a:moveTo>
                    <a:pt x="4117" y="0"/>
                  </a:moveTo>
                  <a:cubicBezTo>
                    <a:pt x="1855" y="0"/>
                    <a:pt x="0" y="1855"/>
                    <a:pt x="0" y="4117"/>
                  </a:cubicBezTo>
                  <a:cubicBezTo>
                    <a:pt x="0" y="6379"/>
                    <a:pt x="1817" y="8234"/>
                    <a:pt x="4117" y="8234"/>
                  </a:cubicBezTo>
                  <a:cubicBezTo>
                    <a:pt x="6417" y="8234"/>
                    <a:pt x="8197" y="6379"/>
                    <a:pt x="8197" y="4117"/>
                  </a:cubicBezTo>
                  <a:cubicBezTo>
                    <a:pt x="8197" y="1855"/>
                    <a:pt x="6342" y="0"/>
                    <a:pt x="4117" y="0"/>
                  </a:cubicBezTo>
                  <a:moveTo>
                    <a:pt x="4117" y="1855"/>
                  </a:moveTo>
                  <a:cubicBezTo>
                    <a:pt x="5341" y="1855"/>
                    <a:pt x="6342" y="2856"/>
                    <a:pt x="6342" y="4080"/>
                  </a:cubicBezTo>
                  <a:cubicBezTo>
                    <a:pt x="6342" y="5304"/>
                    <a:pt x="5341" y="6305"/>
                    <a:pt x="4117" y="6305"/>
                  </a:cubicBezTo>
                  <a:cubicBezTo>
                    <a:pt x="2893" y="6305"/>
                    <a:pt x="1892" y="5304"/>
                    <a:pt x="1892" y="4080"/>
                  </a:cubicBezTo>
                  <a:cubicBezTo>
                    <a:pt x="1892" y="2856"/>
                    <a:pt x="2893" y="1855"/>
                    <a:pt x="4117" y="1855"/>
                  </a:cubicBezTo>
                </a:path>
              </a:pathLst>
            </a:custGeom>
            <a:solidFill>
              <a:srgbClr val="00009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276C15BB-BF7C-F9C0-4A11-42A8F769BFF2}"/>
                </a:ext>
              </a:extLst>
            </p:cNvPr>
            <p:cNvSpPr/>
            <p:nvPr/>
          </p:nvSpPr>
          <p:spPr>
            <a:xfrm>
              <a:off x="6995953" y="602578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6 w 5192"/>
                <a:gd name="connsiteY1" fmla="*/ 5193 h 5192"/>
                <a:gd name="connsiteX2" fmla="*/ 0 w 5192"/>
                <a:gd name="connsiteY2" fmla="*/ 2597 h 5192"/>
                <a:gd name="connsiteX3" fmla="*/ 2596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6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6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06B5BA66-ED3B-637B-8B55-4A7E192404C1}"/>
                </a:ext>
              </a:extLst>
            </p:cNvPr>
            <p:cNvSpPr/>
            <p:nvPr/>
          </p:nvSpPr>
          <p:spPr>
            <a:xfrm>
              <a:off x="6989514" y="6019635"/>
              <a:ext cx="32250" cy="32250"/>
            </a:xfrm>
            <a:custGeom>
              <a:avLst/>
              <a:gdLst>
                <a:gd name="connsiteX0" fmla="*/ 7648 w 8210"/>
                <a:gd name="connsiteY0" fmla="*/ 2047 h 8210"/>
                <a:gd name="connsiteX1" fmla="*/ 2047 w 8210"/>
                <a:gd name="connsiteY1" fmla="*/ 563 h 8210"/>
                <a:gd name="connsiteX2" fmla="*/ 563 w 8210"/>
                <a:gd name="connsiteY2" fmla="*/ 6164 h 8210"/>
                <a:gd name="connsiteX3" fmla="*/ 6164 w 8210"/>
                <a:gd name="connsiteY3" fmla="*/ 7648 h 8210"/>
                <a:gd name="connsiteX4" fmla="*/ 7648 w 8210"/>
                <a:gd name="connsiteY4" fmla="*/ 2047 h 8210"/>
                <a:gd name="connsiteX5" fmla="*/ 6016 w 8210"/>
                <a:gd name="connsiteY5" fmla="*/ 2974 h 8210"/>
                <a:gd name="connsiteX6" fmla="*/ 5199 w 8210"/>
                <a:gd name="connsiteY6" fmla="*/ 6016 h 8210"/>
                <a:gd name="connsiteX7" fmla="*/ 2158 w 8210"/>
                <a:gd name="connsiteY7" fmla="*/ 5199 h 8210"/>
                <a:gd name="connsiteX8" fmla="*/ 2974 w 8210"/>
                <a:gd name="connsiteY8" fmla="*/ 2158 h 8210"/>
                <a:gd name="connsiteX9" fmla="*/ 6016 w 8210"/>
                <a:gd name="connsiteY9" fmla="*/ 2974 h 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10" h="8210">
                  <a:moveTo>
                    <a:pt x="7648" y="2047"/>
                  </a:moveTo>
                  <a:cubicBezTo>
                    <a:pt x="6535" y="81"/>
                    <a:pt x="4013" y="-586"/>
                    <a:pt x="2047" y="563"/>
                  </a:cubicBezTo>
                  <a:cubicBezTo>
                    <a:pt x="81" y="1713"/>
                    <a:pt x="-586" y="4198"/>
                    <a:pt x="563" y="6164"/>
                  </a:cubicBezTo>
                  <a:cubicBezTo>
                    <a:pt x="1676" y="8130"/>
                    <a:pt x="4198" y="8798"/>
                    <a:pt x="6164" y="7648"/>
                  </a:cubicBezTo>
                  <a:cubicBezTo>
                    <a:pt x="8130" y="6535"/>
                    <a:pt x="8798" y="4013"/>
                    <a:pt x="7648" y="2047"/>
                  </a:cubicBezTo>
                  <a:moveTo>
                    <a:pt x="6016" y="2974"/>
                  </a:moveTo>
                  <a:cubicBezTo>
                    <a:pt x="6646" y="4050"/>
                    <a:pt x="6275" y="5422"/>
                    <a:pt x="5199" y="6016"/>
                  </a:cubicBezTo>
                  <a:cubicBezTo>
                    <a:pt x="4124" y="6646"/>
                    <a:pt x="2752" y="6275"/>
                    <a:pt x="2158" y="5199"/>
                  </a:cubicBezTo>
                  <a:cubicBezTo>
                    <a:pt x="1528" y="4124"/>
                    <a:pt x="1898" y="2752"/>
                    <a:pt x="2974" y="2158"/>
                  </a:cubicBezTo>
                  <a:cubicBezTo>
                    <a:pt x="4050" y="1528"/>
                    <a:pt x="5422" y="1898"/>
                    <a:pt x="6016" y="2974"/>
                  </a:cubicBezTo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840D84D8-FF85-1C03-2F0F-6D57C7B32556}"/>
                </a:ext>
              </a:extLst>
            </p:cNvPr>
            <p:cNvSpPr/>
            <p:nvPr/>
          </p:nvSpPr>
          <p:spPr>
            <a:xfrm>
              <a:off x="6995513" y="605827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33806308-DA0E-7C01-A87A-329D2D6A1450}"/>
                </a:ext>
              </a:extLst>
            </p:cNvPr>
            <p:cNvSpPr/>
            <p:nvPr/>
          </p:nvSpPr>
          <p:spPr>
            <a:xfrm>
              <a:off x="6989546" y="6051787"/>
              <a:ext cx="32188" cy="32121"/>
            </a:xfrm>
            <a:custGeom>
              <a:avLst/>
              <a:gdLst>
                <a:gd name="connsiteX0" fmla="*/ 7639 w 8194"/>
                <a:gd name="connsiteY0" fmla="*/ 6139 h 8177"/>
                <a:gd name="connsiteX1" fmla="*/ 6156 w 8194"/>
                <a:gd name="connsiteY1" fmla="*/ 539 h 8177"/>
                <a:gd name="connsiteX2" fmla="*/ 555 w 8194"/>
                <a:gd name="connsiteY2" fmla="*/ 2022 h 8177"/>
                <a:gd name="connsiteX3" fmla="*/ 2039 w 8194"/>
                <a:gd name="connsiteY3" fmla="*/ 7623 h 8177"/>
                <a:gd name="connsiteX4" fmla="*/ 7639 w 8194"/>
                <a:gd name="connsiteY4" fmla="*/ 6139 h 8177"/>
                <a:gd name="connsiteX5" fmla="*/ 6008 w 8194"/>
                <a:gd name="connsiteY5" fmla="*/ 5212 h 8177"/>
                <a:gd name="connsiteX6" fmla="*/ 2966 w 8194"/>
                <a:gd name="connsiteY6" fmla="*/ 6028 h 8177"/>
                <a:gd name="connsiteX7" fmla="*/ 2150 w 8194"/>
                <a:gd name="connsiteY7" fmla="*/ 2986 h 8177"/>
                <a:gd name="connsiteX8" fmla="*/ 5191 w 8194"/>
                <a:gd name="connsiteY8" fmla="*/ 2170 h 8177"/>
                <a:gd name="connsiteX9" fmla="*/ 6008 w 8194"/>
                <a:gd name="connsiteY9" fmla="*/ 5212 h 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4" h="8177">
                  <a:moveTo>
                    <a:pt x="7639" y="6139"/>
                  </a:moveTo>
                  <a:cubicBezTo>
                    <a:pt x="8789" y="4173"/>
                    <a:pt x="8084" y="1651"/>
                    <a:pt x="6156" y="539"/>
                  </a:cubicBezTo>
                  <a:cubicBezTo>
                    <a:pt x="4190" y="-574"/>
                    <a:pt x="1705" y="94"/>
                    <a:pt x="555" y="2022"/>
                  </a:cubicBezTo>
                  <a:cubicBezTo>
                    <a:pt x="-595" y="3988"/>
                    <a:pt x="110" y="6510"/>
                    <a:pt x="2039" y="7623"/>
                  </a:cubicBezTo>
                  <a:cubicBezTo>
                    <a:pt x="4005" y="8773"/>
                    <a:pt x="6489" y="8068"/>
                    <a:pt x="7639" y="6139"/>
                  </a:cubicBezTo>
                  <a:moveTo>
                    <a:pt x="6008" y="5212"/>
                  </a:moveTo>
                  <a:cubicBezTo>
                    <a:pt x="5377" y="6287"/>
                    <a:pt x="4005" y="6659"/>
                    <a:pt x="2966" y="6028"/>
                  </a:cubicBezTo>
                  <a:cubicBezTo>
                    <a:pt x="1890" y="5397"/>
                    <a:pt x="1519" y="4062"/>
                    <a:pt x="2150" y="2986"/>
                  </a:cubicBezTo>
                  <a:cubicBezTo>
                    <a:pt x="2780" y="1911"/>
                    <a:pt x="4153" y="1540"/>
                    <a:pt x="5191" y="2170"/>
                  </a:cubicBezTo>
                  <a:cubicBezTo>
                    <a:pt x="6267" y="2801"/>
                    <a:pt x="6638" y="4173"/>
                    <a:pt x="6008" y="5212"/>
                  </a:cubicBezTo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138281A0-E2BB-F185-04CD-92C45E90EF03}"/>
                </a:ext>
              </a:extLst>
            </p:cNvPr>
            <p:cNvSpPr/>
            <p:nvPr/>
          </p:nvSpPr>
          <p:spPr>
            <a:xfrm>
              <a:off x="6725972" y="6019227"/>
              <a:ext cx="234136" cy="64835"/>
            </a:xfrm>
            <a:custGeom>
              <a:avLst/>
              <a:gdLst>
                <a:gd name="connsiteX0" fmla="*/ 59604 w 59604"/>
                <a:gd name="connsiteY0" fmla="*/ 16505 h 16505"/>
                <a:gd name="connsiteX1" fmla="*/ 52669 w 59604"/>
                <a:gd name="connsiteY1" fmla="*/ 12388 h 16505"/>
                <a:gd name="connsiteX2" fmla="*/ 55673 w 59604"/>
                <a:gd name="connsiteY2" fmla="*/ 1112 h 16505"/>
                <a:gd name="connsiteX3" fmla="*/ 59604 w 59604"/>
                <a:gd name="connsiteY3" fmla="*/ 0 h 16505"/>
                <a:gd name="connsiteX4" fmla="*/ 59604 w 59604"/>
                <a:gd name="connsiteY4" fmla="*/ 0 h 16505"/>
                <a:gd name="connsiteX5" fmla="*/ 0 w 59604"/>
                <a:gd name="connsiteY5" fmla="*/ 0 h 16505"/>
                <a:gd name="connsiteX6" fmla="*/ 0 w 59604"/>
                <a:gd name="connsiteY6" fmla="*/ 16468 h 16505"/>
                <a:gd name="connsiteX7" fmla="*/ 59604 w 59604"/>
                <a:gd name="connsiteY7" fmla="*/ 16468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04" h="16505">
                  <a:moveTo>
                    <a:pt x="59604" y="16505"/>
                  </a:moveTo>
                  <a:cubicBezTo>
                    <a:pt x="56823" y="16431"/>
                    <a:pt x="54152" y="14984"/>
                    <a:pt x="52669" y="12388"/>
                  </a:cubicBezTo>
                  <a:cubicBezTo>
                    <a:pt x="50406" y="8457"/>
                    <a:pt x="51741" y="3412"/>
                    <a:pt x="55673" y="1112"/>
                  </a:cubicBezTo>
                  <a:cubicBezTo>
                    <a:pt x="56896" y="408"/>
                    <a:pt x="58269" y="37"/>
                    <a:pt x="59604" y="0"/>
                  </a:cubicBezTo>
                  <a:lnTo>
                    <a:pt x="59604" y="0"/>
                  </a:lnTo>
                  <a:cubicBezTo>
                    <a:pt x="59604" y="0"/>
                    <a:pt x="0" y="0"/>
                    <a:pt x="0" y="0"/>
                  </a:cubicBezTo>
                  <a:lnTo>
                    <a:pt x="0" y="16468"/>
                  </a:lnTo>
                  <a:lnTo>
                    <a:pt x="59604" y="16468"/>
                  </a:lnTo>
                  <a:close/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44" name="Freihandform: Form 43">
            <a:extLst>
              <a:ext uri="{FF2B5EF4-FFF2-40B4-BE49-F238E27FC236}">
                <a16:creationId xmlns:a16="http://schemas.microsoft.com/office/drawing/2014/main" id="{847C29A8-6712-19ED-3D17-3144613D4945}"/>
              </a:ext>
            </a:extLst>
          </p:cNvPr>
          <p:cNvSpPr/>
          <p:nvPr/>
        </p:nvSpPr>
        <p:spPr>
          <a:xfrm>
            <a:off x="8855584" y="5576684"/>
            <a:ext cx="2215967" cy="288276"/>
          </a:xfrm>
          <a:custGeom>
            <a:avLst/>
            <a:gdLst>
              <a:gd name="connsiteX0" fmla="*/ 641106 w 805156"/>
              <a:gd name="connsiteY0" fmla="*/ 1 h 104743"/>
              <a:gd name="connsiteX1" fmla="*/ 0 w 805156"/>
              <a:gd name="connsiteY1" fmla="*/ 1484 h 104743"/>
              <a:gd name="connsiteX2" fmla="*/ 0 w 805156"/>
              <a:gd name="connsiteY2" fmla="*/ 104744 h 104743"/>
              <a:gd name="connsiteX3" fmla="*/ 805157 w 805156"/>
              <a:gd name="connsiteY3" fmla="*/ 104744 h 104743"/>
              <a:gd name="connsiteX4" fmla="*/ 782643 w 805156"/>
              <a:gd name="connsiteY4" fmla="*/ 71066 h 104743"/>
              <a:gd name="connsiteX5" fmla="*/ 641106 w 805156"/>
              <a:gd name="connsiteY5" fmla="*/ 1 h 104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5156" h="104743">
                <a:moveTo>
                  <a:pt x="641106" y="1"/>
                </a:moveTo>
                <a:lnTo>
                  <a:pt x="0" y="1484"/>
                </a:lnTo>
                <a:lnTo>
                  <a:pt x="0" y="104744"/>
                </a:lnTo>
                <a:lnTo>
                  <a:pt x="805157" y="104744"/>
                </a:lnTo>
                <a:lnTo>
                  <a:pt x="782643" y="71066"/>
                </a:lnTo>
                <a:cubicBezTo>
                  <a:pt x="753119" y="26928"/>
                  <a:pt x="699264" y="-148"/>
                  <a:pt x="641106" y="1"/>
                </a:cubicBezTo>
              </a:path>
            </a:pathLst>
          </a:custGeom>
          <a:solidFill>
            <a:srgbClr val="70A63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78" name="Freihandform: Form 77">
            <a:extLst>
              <a:ext uri="{FF2B5EF4-FFF2-40B4-BE49-F238E27FC236}">
                <a16:creationId xmlns:a16="http://schemas.microsoft.com/office/drawing/2014/main" id="{27F8DE82-6642-CDD8-E151-5870D9744787}"/>
              </a:ext>
            </a:extLst>
          </p:cNvPr>
          <p:cNvSpPr/>
          <p:nvPr/>
        </p:nvSpPr>
        <p:spPr>
          <a:xfrm flipH="1">
            <a:off x="7547229" y="5662341"/>
            <a:ext cx="3555299" cy="119163"/>
          </a:xfrm>
          <a:custGeom>
            <a:avLst/>
            <a:gdLst>
              <a:gd name="connsiteX0" fmla="*/ 0 w 670852"/>
              <a:gd name="connsiteY0" fmla="*/ 0 h 25555"/>
              <a:gd name="connsiteX1" fmla="*/ 670853 w 670852"/>
              <a:gd name="connsiteY1" fmla="*/ 0 h 25555"/>
              <a:gd name="connsiteX2" fmla="*/ 670853 w 670852"/>
              <a:gd name="connsiteY2" fmla="*/ 25555 h 25555"/>
              <a:gd name="connsiteX3" fmla="*/ 0 w 670852"/>
              <a:gd name="connsiteY3" fmla="*/ 25555 h 25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0852" h="25555">
                <a:moveTo>
                  <a:pt x="0" y="0"/>
                </a:moveTo>
                <a:lnTo>
                  <a:pt x="670853" y="0"/>
                </a:lnTo>
                <a:lnTo>
                  <a:pt x="670853" y="25555"/>
                </a:lnTo>
                <a:lnTo>
                  <a:pt x="0" y="25555"/>
                </a:lnTo>
                <a:close/>
              </a:path>
            </a:pathLst>
          </a:custGeom>
          <a:solidFill>
            <a:srgbClr val="CBA67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79" name="Freihandform: Form 78">
            <a:extLst>
              <a:ext uri="{FF2B5EF4-FFF2-40B4-BE49-F238E27FC236}">
                <a16:creationId xmlns:a16="http://schemas.microsoft.com/office/drawing/2014/main" id="{6AFE6AB2-E751-ED0C-280A-33E34FF0F5F4}"/>
              </a:ext>
            </a:extLst>
          </p:cNvPr>
          <p:cNvSpPr/>
          <p:nvPr/>
        </p:nvSpPr>
        <p:spPr>
          <a:xfrm flipH="1">
            <a:off x="7600617" y="5781676"/>
            <a:ext cx="3501911" cy="170008"/>
          </a:xfrm>
          <a:custGeom>
            <a:avLst/>
            <a:gdLst>
              <a:gd name="connsiteX0" fmla="*/ 0 w 670852"/>
              <a:gd name="connsiteY0" fmla="*/ 0 h 36459"/>
              <a:gd name="connsiteX1" fmla="*/ 670853 w 670852"/>
              <a:gd name="connsiteY1" fmla="*/ 0 h 36459"/>
              <a:gd name="connsiteX2" fmla="*/ 670853 w 670852"/>
              <a:gd name="connsiteY2" fmla="*/ 36460 h 36459"/>
              <a:gd name="connsiteX3" fmla="*/ 0 w 670852"/>
              <a:gd name="connsiteY3" fmla="*/ 36460 h 3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0852" h="36459">
                <a:moveTo>
                  <a:pt x="0" y="0"/>
                </a:moveTo>
                <a:lnTo>
                  <a:pt x="670853" y="0"/>
                </a:lnTo>
                <a:lnTo>
                  <a:pt x="670853" y="36460"/>
                </a:lnTo>
                <a:lnTo>
                  <a:pt x="0" y="36460"/>
                </a:lnTo>
                <a:close/>
              </a:path>
            </a:pathLst>
          </a:custGeom>
          <a:solidFill>
            <a:srgbClr val="9FCE6C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5143178-50D2-FB27-3F51-6082FACCAB64}"/>
              </a:ext>
            </a:extLst>
          </p:cNvPr>
          <p:cNvSpPr/>
          <p:nvPr/>
        </p:nvSpPr>
        <p:spPr>
          <a:xfrm flipH="1">
            <a:off x="7672304" y="4951851"/>
            <a:ext cx="556041" cy="997069"/>
          </a:xfrm>
          <a:custGeom>
            <a:avLst/>
            <a:gdLst>
              <a:gd name="connsiteX0" fmla="*/ 119245 w 119245"/>
              <a:gd name="connsiteY0" fmla="*/ 213826 h 213825"/>
              <a:gd name="connsiteX1" fmla="*/ 0 w 119245"/>
              <a:gd name="connsiteY1" fmla="*/ 213826 h 213825"/>
              <a:gd name="connsiteX2" fmla="*/ 0 w 119245"/>
              <a:gd name="connsiteY2" fmla="*/ 72215 h 213825"/>
              <a:gd name="connsiteX3" fmla="*/ 55710 w 119245"/>
              <a:gd name="connsiteY3" fmla="*/ 1892 h 213825"/>
              <a:gd name="connsiteX4" fmla="*/ 63536 w 119245"/>
              <a:gd name="connsiteY4" fmla="*/ 1892 h 213825"/>
              <a:gd name="connsiteX5" fmla="*/ 119245 w 119245"/>
              <a:gd name="connsiteY5" fmla="*/ 72215 h 213825"/>
              <a:gd name="connsiteX6" fmla="*/ 119245 w 119245"/>
              <a:gd name="connsiteY6" fmla="*/ 213826 h 21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245" h="213825">
                <a:moveTo>
                  <a:pt x="119245" y="213826"/>
                </a:moveTo>
                <a:lnTo>
                  <a:pt x="0" y="213826"/>
                </a:lnTo>
                <a:lnTo>
                  <a:pt x="0" y="72215"/>
                </a:lnTo>
                <a:lnTo>
                  <a:pt x="55710" y="1892"/>
                </a:lnTo>
                <a:cubicBezTo>
                  <a:pt x="57713" y="-631"/>
                  <a:pt x="61533" y="-631"/>
                  <a:pt x="63536" y="1892"/>
                </a:cubicBezTo>
                <a:lnTo>
                  <a:pt x="119245" y="72215"/>
                </a:lnTo>
                <a:lnTo>
                  <a:pt x="119245" y="213826"/>
                </a:lnTo>
                <a:close/>
              </a:path>
            </a:pathLst>
          </a:custGeom>
          <a:solidFill>
            <a:srgbClr val="D1D1D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6DDDF83C-15DA-90FF-B0BA-37E9E67BA83B}"/>
              </a:ext>
            </a:extLst>
          </p:cNvPr>
          <p:cNvSpPr/>
          <p:nvPr/>
        </p:nvSpPr>
        <p:spPr>
          <a:xfrm flipH="1">
            <a:off x="7173512" y="4951851"/>
            <a:ext cx="556041" cy="997069"/>
          </a:xfrm>
          <a:custGeom>
            <a:avLst/>
            <a:gdLst>
              <a:gd name="connsiteX0" fmla="*/ 119245 w 119245"/>
              <a:gd name="connsiteY0" fmla="*/ 213826 h 213825"/>
              <a:gd name="connsiteX1" fmla="*/ 0 w 119245"/>
              <a:gd name="connsiteY1" fmla="*/ 213826 h 213825"/>
              <a:gd name="connsiteX2" fmla="*/ 0 w 119245"/>
              <a:gd name="connsiteY2" fmla="*/ 72215 h 213825"/>
              <a:gd name="connsiteX3" fmla="*/ 55710 w 119245"/>
              <a:gd name="connsiteY3" fmla="*/ 1892 h 213825"/>
              <a:gd name="connsiteX4" fmla="*/ 63536 w 119245"/>
              <a:gd name="connsiteY4" fmla="*/ 1892 h 213825"/>
              <a:gd name="connsiteX5" fmla="*/ 119245 w 119245"/>
              <a:gd name="connsiteY5" fmla="*/ 72215 h 213825"/>
              <a:gd name="connsiteX6" fmla="*/ 119245 w 119245"/>
              <a:gd name="connsiteY6" fmla="*/ 213826 h 21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245" h="213825">
                <a:moveTo>
                  <a:pt x="119245" y="213826"/>
                </a:moveTo>
                <a:lnTo>
                  <a:pt x="0" y="213826"/>
                </a:lnTo>
                <a:lnTo>
                  <a:pt x="0" y="72215"/>
                </a:lnTo>
                <a:lnTo>
                  <a:pt x="55710" y="1892"/>
                </a:lnTo>
                <a:cubicBezTo>
                  <a:pt x="57713" y="-631"/>
                  <a:pt x="61533" y="-631"/>
                  <a:pt x="63536" y="1892"/>
                </a:cubicBezTo>
                <a:lnTo>
                  <a:pt x="119245" y="72215"/>
                </a:lnTo>
                <a:lnTo>
                  <a:pt x="119245" y="213826"/>
                </a:lnTo>
                <a:close/>
              </a:path>
            </a:pathLst>
          </a:custGeom>
          <a:solidFill>
            <a:srgbClr val="D1D1D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C76C735-0B51-3436-4C74-C37A65EF953A}"/>
              </a:ext>
            </a:extLst>
          </p:cNvPr>
          <p:cNvGrpSpPr/>
          <p:nvPr/>
        </p:nvGrpSpPr>
        <p:grpSpPr>
          <a:xfrm flipH="1">
            <a:off x="10635895" y="5309743"/>
            <a:ext cx="443129" cy="341358"/>
            <a:chOff x="8142012" y="5048876"/>
            <a:chExt cx="632471" cy="487214"/>
          </a:xfrm>
        </p:grpSpPr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F85E058-B46F-D4C2-A6F9-49611D695D6F}"/>
                </a:ext>
              </a:extLst>
            </p:cNvPr>
            <p:cNvSpPr/>
            <p:nvPr/>
          </p:nvSpPr>
          <p:spPr>
            <a:xfrm>
              <a:off x="8418403" y="5242803"/>
              <a:ext cx="239671" cy="293287"/>
            </a:xfrm>
            <a:custGeom>
              <a:avLst/>
              <a:gdLst>
                <a:gd name="connsiteX0" fmla="*/ 22699 w 61013"/>
                <a:gd name="connsiteY0" fmla="*/ 0 h 74662"/>
                <a:gd name="connsiteX1" fmla="*/ 22699 w 61013"/>
                <a:gd name="connsiteY1" fmla="*/ 44768 h 74662"/>
                <a:gd name="connsiteX2" fmla="*/ 33196 w 61013"/>
                <a:gd name="connsiteY2" fmla="*/ 44768 h 74662"/>
                <a:gd name="connsiteX3" fmla="*/ 43470 w 61013"/>
                <a:gd name="connsiteY3" fmla="*/ 38018 h 74662"/>
                <a:gd name="connsiteX4" fmla="*/ 55784 w 61013"/>
                <a:gd name="connsiteY4" fmla="*/ 9643 h 74662"/>
                <a:gd name="connsiteX5" fmla="*/ 61013 w 61013"/>
                <a:gd name="connsiteY5" fmla="*/ 11906 h 74662"/>
                <a:gd name="connsiteX6" fmla="*/ 48700 w 61013"/>
                <a:gd name="connsiteY6" fmla="*/ 40280 h 74662"/>
                <a:gd name="connsiteX7" fmla="*/ 33196 w 61013"/>
                <a:gd name="connsiteY7" fmla="*/ 50443 h 74662"/>
                <a:gd name="connsiteX8" fmla="*/ 22699 w 61013"/>
                <a:gd name="connsiteY8" fmla="*/ 50443 h 74662"/>
                <a:gd name="connsiteX9" fmla="*/ 22699 w 61013"/>
                <a:gd name="connsiteY9" fmla="*/ 74663 h 74662"/>
                <a:gd name="connsiteX10" fmla="*/ 0 w 61013"/>
                <a:gd name="connsiteY10" fmla="*/ 74663 h 74662"/>
                <a:gd name="connsiteX11" fmla="*/ 0 w 61013"/>
                <a:gd name="connsiteY11" fmla="*/ 0 h 74662"/>
                <a:gd name="connsiteX12" fmla="*/ 22699 w 61013"/>
                <a:gd name="connsiteY12" fmla="*/ 0 h 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013" h="74662">
                  <a:moveTo>
                    <a:pt x="22699" y="0"/>
                  </a:moveTo>
                  <a:lnTo>
                    <a:pt x="22699" y="44768"/>
                  </a:lnTo>
                  <a:lnTo>
                    <a:pt x="33196" y="44768"/>
                  </a:lnTo>
                  <a:cubicBezTo>
                    <a:pt x="37684" y="44768"/>
                    <a:pt x="41689" y="42135"/>
                    <a:pt x="43470" y="38018"/>
                  </a:cubicBezTo>
                  <a:lnTo>
                    <a:pt x="55784" y="9643"/>
                  </a:lnTo>
                  <a:lnTo>
                    <a:pt x="61013" y="11906"/>
                  </a:lnTo>
                  <a:lnTo>
                    <a:pt x="48700" y="40280"/>
                  </a:lnTo>
                  <a:cubicBezTo>
                    <a:pt x="46029" y="46474"/>
                    <a:pt x="39946" y="50443"/>
                    <a:pt x="33196" y="50443"/>
                  </a:cubicBezTo>
                  <a:lnTo>
                    <a:pt x="22699" y="50443"/>
                  </a:lnTo>
                  <a:lnTo>
                    <a:pt x="22699" y="74663"/>
                  </a:lnTo>
                  <a:lnTo>
                    <a:pt x="0" y="74663"/>
                  </a:lnTo>
                  <a:lnTo>
                    <a:pt x="0" y="0"/>
                  </a:lnTo>
                  <a:lnTo>
                    <a:pt x="22699" y="0"/>
                  </a:lnTo>
                  <a:close/>
                </a:path>
              </a:pathLst>
            </a:custGeom>
            <a:solidFill>
              <a:srgbClr val="CA8A0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72A638B6-1883-6E99-0249-A99BD3CE9F31}"/>
                </a:ext>
              </a:extLst>
            </p:cNvPr>
            <p:cNvSpPr/>
            <p:nvPr/>
          </p:nvSpPr>
          <p:spPr>
            <a:xfrm>
              <a:off x="8142012" y="5048876"/>
              <a:ext cx="632471" cy="310917"/>
            </a:xfrm>
            <a:custGeom>
              <a:avLst/>
              <a:gdLst>
                <a:gd name="connsiteX0" fmla="*/ 18545 w 161008"/>
                <a:gd name="connsiteY0" fmla="*/ 0 h 79150"/>
                <a:gd name="connsiteX1" fmla="*/ 83861 w 161008"/>
                <a:gd name="connsiteY1" fmla="*/ 0 h 79150"/>
                <a:gd name="connsiteX2" fmla="*/ 96435 w 161008"/>
                <a:gd name="connsiteY2" fmla="*/ 7752 h 79150"/>
                <a:gd name="connsiteX3" fmla="*/ 99995 w 161008"/>
                <a:gd name="connsiteY3" fmla="*/ 14873 h 79150"/>
                <a:gd name="connsiteX4" fmla="*/ 112569 w 161008"/>
                <a:gd name="connsiteY4" fmla="*/ 22625 h 79150"/>
                <a:gd name="connsiteX5" fmla="*/ 132746 w 161008"/>
                <a:gd name="connsiteY5" fmla="*/ 22625 h 79150"/>
                <a:gd name="connsiteX6" fmla="*/ 161009 w 161008"/>
                <a:gd name="connsiteY6" fmla="*/ 50888 h 79150"/>
                <a:gd name="connsiteX7" fmla="*/ 132746 w 161008"/>
                <a:gd name="connsiteY7" fmla="*/ 79151 h 79150"/>
                <a:gd name="connsiteX8" fmla="*/ 80857 w 161008"/>
                <a:gd name="connsiteY8" fmla="*/ 79151 h 79150"/>
                <a:gd name="connsiteX9" fmla="*/ 51110 w 161008"/>
                <a:gd name="connsiteY9" fmla="*/ 59085 h 79150"/>
                <a:gd name="connsiteX10" fmla="*/ 46326 w 161008"/>
                <a:gd name="connsiteY10" fmla="*/ 47290 h 79150"/>
                <a:gd name="connsiteX11" fmla="*/ 31082 w 161008"/>
                <a:gd name="connsiteY11" fmla="*/ 37016 h 79150"/>
                <a:gd name="connsiteX12" fmla="*/ 18508 w 161008"/>
                <a:gd name="connsiteY12" fmla="*/ 37016 h 79150"/>
                <a:gd name="connsiteX13" fmla="*/ 0 w 161008"/>
                <a:gd name="connsiteY13" fmla="*/ 18508 h 79150"/>
                <a:gd name="connsiteX14" fmla="*/ 18508 w 161008"/>
                <a:gd name="connsiteY14" fmla="*/ 0 h 7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008" h="79150">
                  <a:moveTo>
                    <a:pt x="18545" y="0"/>
                  </a:moveTo>
                  <a:lnTo>
                    <a:pt x="83861" y="0"/>
                  </a:lnTo>
                  <a:cubicBezTo>
                    <a:pt x="89165" y="0"/>
                    <a:pt x="94024" y="3004"/>
                    <a:pt x="96435" y="7752"/>
                  </a:cubicBezTo>
                  <a:lnTo>
                    <a:pt x="99995" y="14873"/>
                  </a:lnTo>
                  <a:cubicBezTo>
                    <a:pt x="102369" y="19621"/>
                    <a:pt x="107228" y="22625"/>
                    <a:pt x="112569" y="22625"/>
                  </a:cubicBezTo>
                  <a:lnTo>
                    <a:pt x="132746" y="22625"/>
                  </a:lnTo>
                  <a:cubicBezTo>
                    <a:pt x="148361" y="22625"/>
                    <a:pt x="161009" y="35273"/>
                    <a:pt x="161009" y="50888"/>
                  </a:cubicBezTo>
                  <a:cubicBezTo>
                    <a:pt x="161009" y="66503"/>
                    <a:pt x="148361" y="79151"/>
                    <a:pt x="132746" y="79151"/>
                  </a:cubicBezTo>
                  <a:lnTo>
                    <a:pt x="80857" y="79151"/>
                  </a:lnTo>
                  <a:cubicBezTo>
                    <a:pt x="67764" y="79151"/>
                    <a:pt x="56006" y="71213"/>
                    <a:pt x="51110" y="59085"/>
                  </a:cubicBezTo>
                  <a:lnTo>
                    <a:pt x="46326" y="47290"/>
                  </a:lnTo>
                  <a:cubicBezTo>
                    <a:pt x="43803" y="41059"/>
                    <a:pt x="37795" y="37016"/>
                    <a:pt x="31082" y="37016"/>
                  </a:cubicBezTo>
                  <a:lnTo>
                    <a:pt x="18508" y="37016"/>
                  </a:lnTo>
                  <a:cubicBezTo>
                    <a:pt x="8271" y="37016"/>
                    <a:pt x="0" y="28745"/>
                    <a:pt x="0" y="18508"/>
                  </a:cubicBezTo>
                  <a:cubicBezTo>
                    <a:pt x="0" y="8271"/>
                    <a:pt x="8271" y="0"/>
                    <a:pt x="18508" y="0"/>
                  </a:cubicBezTo>
                </a:path>
              </a:pathLst>
            </a:custGeom>
            <a:solidFill>
              <a:srgbClr val="53832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8890330-97F2-FBE3-3036-62715BBDD7DB}"/>
              </a:ext>
            </a:extLst>
          </p:cNvPr>
          <p:cNvGrpSpPr/>
          <p:nvPr/>
        </p:nvGrpSpPr>
        <p:grpSpPr>
          <a:xfrm>
            <a:off x="6212525" y="4931377"/>
            <a:ext cx="1126854" cy="655985"/>
            <a:chOff x="7561984" y="3505200"/>
            <a:chExt cx="2393720" cy="1393476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F63ED327-7D94-ADBD-1A95-A824EED3CDD8}"/>
                </a:ext>
              </a:extLst>
            </p:cNvPr>
            <p:cNvSpPr/>
            <p:nvPr/>
          </p:nvSpPr>
          <p:spPr>
            <a:xfrm flipH="1">
              <a:off x="8520012" y="3698727"/>
              <a:ext cx="1435692" cy="1199949"/>
            </a:xfrm>
            <a:custGeom>
              <a:avLst/>
              <a:gdLst>
                <a:gd name="connsiteX0" fmla="*/ 0 w 215717"/>
                <a:gd name="connsiteY0" fmla="*/ 0 h 180296"/>
                <a:gd name="connsiteX1" fmla="*/ 215717 w 215717"/>
                <a:gd name="connsiteY1" fmla="*/ 0 h 180296"/>
                <a:gd name="connsiteX2" fmla="*/ 215717 w 215717"/>
                <a:gd name="connsiteY2" fmla="*/ 180296 h 180296"/>
                <a:gd name="connsiteX3" fmla="*/ 0 w 215717"/>
                <a:gd name="connsiteY3" fmla="*/ 180296 h 18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717" h="180296">
                  <a:moveTo>
                    <a:pt x="0" y="0"/>
                  </a:moveTo>
                  <a:lnTo>
                    <a:pt x="215717" y="0"/>
                  </a:lnTo>
                  <a:lnTo>
                    <a:pt x="215717" y="180296"/>
                  </a:lnTo>
                  <a:lnTo>
                    <a:pt x="0" y="180296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685A16-4430-3D96-8B56-6FC9520DA717}"/>
                </a:ext>
              </a:extLst>
            </p:cNvPr>
            <p:cNvSpPr/>
            <p:nvPr/>
          </p:nvSpPr>
          <p:spPr>
            <a:xfrm flipH="1">
              <a:off x="9437560" y="4385228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D49EDF59-FCE7-0495-75F8-AA4B50035A17}"/>
                </a:ext>
              </a:extLst>
            </p:cNvPr>
            <p:cNvSpPr/>
            <p:nvPr/>
          </p:nvSpPr>
          <p:spPr>
            <a:xfrm flipH="1">
              <a:off x="8937929" y="4385228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1FD9C9DC-7D48-EAD6-8877-FD53E6194EA6}"/>
                </a:ext>
              </a:extLst>
            </p:cNvPr>
            <p:cNvSpPr/>
            <p:nvPr/>
          </p:nvSpPr>
          <p:spPr>
            <a:xfrm flipH="1">
              <a:off x="8520012" y="3698727"/>
              <a:ext cx="1435692" cy="570718"/>
            </a:xfrm>
            <a:custGeom>
              <a:avLst/>
              <a:gdLst>
                <a:gd name="connsiteX0" fmla="*/ 0 w 215717"/>
                <a:gd name="connsiteY0" fmla="*/ 0 h 85752"/>
                <a:gd name="connsiteX1" fmla="*/ 215717 w 215717"/>
                <a:gd name="connsiteY1" fmla="*/ 0 h 85752"/>
                <a:gd name="connsiteX2" fmla="*/ 215717 w 215717"/>
                <a:gd name="connsiteY2" fmla="*/ 85753 h 85752"/>
                <a:gd name="connsiteX3" fmla="*/ 0 w 215717"/>
                <a:gd name="connsiteY3" fmla="*/ 85753 h 8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717" h="85752">
                  <a:moveTo>
                    <a:pt x="0" y="0"/>
                  </a:moveTo>
                  <a:lnTo>
                    <a:pt x="215717" y="0"/>
                  </a:lnTo>
                  <a:lnTo>
                    <a:pt x="215717" y="85753"/>
                  </a:lnTo>
                  <a:lnTo>
                    <a:pt x="0" y="85753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grpSp>
          <p:nvGrpSpPr>
            <p:cNvPr id="52" name="Grafik 7">
              <a:extLst>
                <a:ext uri="{FF2B5EF4-FFF2-40B4-BE49-F238E27FC236}">
                  <a16:creationId xmlns:a16="http://schemas.microsoft.com/office/drawing/2014/main" id="{AEA7323E-361D-3BAB-1AC9-E37AB576C396}"/>
                </a:ext>
              </a:extLst>
            </p:cNvPr>
            <p:cNvGrpSpPr/>
            <p:nvPr/>
          </p:nvGrpSpPr>
          <p:grpSpPr>
            <a:xfrm flipH="1">
              <a:off x="8690339" y="3909052"/>
              <a:ext cx="1095033" cy="265366"/>
              <a:chOff x="-2067772" y="5400911"/>
              <a:chExt cx="164532" cy="39872"/>
            </a:xfrm>
            <a:solidFill>
              <a:srgbClr val="1195EB"/>
            </a:solidFill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D5A9681-D74D-7A50-8595-A634CD9C0C48}"/>
                  </a:ext>
                </a:extLst>
              </p:cNvPr>
              <p:cNvSpPr/>
              <p:nvPr/>
            </p:nvSpPr>
            <p:spPr>
              <a:xfrm>
                <a:off x="-2067772" y="5400911"/>
                <a:ext cx="22587" cy="39872"/>
              </a:xfrm>
              <a:custGeom>
                <a:avLst/>
                <a:gdLst>
                  <a:gd name="connsiteX0" fmla="*/ 22588 w 22587"/>
                  <a:gd name="connsiteY0" fmla="*/ 39872 h 39872"/>
                  <a:gd name="connsiteX1" fmla="*/ 0 w 22587"/>
                  <a:gd name="connsiteY1" fmla="*/ 39872 h 39872"/>
                  <a:gd name="connsiteX2" fmla="*/ 0 w 22587"/>
                  <a:gd name="connsiteY2" fmla="*/ 11275 h 39872"/>
                  <a:gd name="connsiteX3" fmla="*/ 11275 w 22587"/>
                  <a:gd name="connsiteY3" fmla="*/ 0 h 39872"/>
                  <a:gd name="connsiteX4" fmla="*/ 22551 w 22587"/>
                  <a:gd name="connsiteY4" fmla="*/ 11275 h 39872"/>
                  <a:gd name="connsiteX5" fmla="*/ 22551 w 22587"/>
                  <a:gd name="connsiteY5" fmla="*/ 39872 h 3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" h="39872">
                    <a:moveTo>
                      <a:pt x="22588" y="39872"/>
                    </a:moveTo>
                    <a:lnTo>
                      <a:pt x="0" y="39872"/>
                    </a:lnTo>
                    <a:lnTo>
                      <a:pt x="0" y="11275"/>
                    </a:lnTo>
                    <a:cubicBezTo>
                      <a:pt x="0" y="5044"/>
                      <a:pt x="5044" y="0"/>
                      <a:pt x="11275" y="0"/>
                    </a:cubicBezTo>
                    <a:cubicBezTo>
                      <a:pt x="17507" y="0"/>
                      <a:pt x="22551" y="5044"/>
                      <a:pt x="22551" y="11275"/>
                    </a:cubicBezTo>
                    <a:lnTo>
                      <a:pt x="22551" y="39872"/>
                    </a:lnTo>
                    <a:close/>
                  </a:path>
                </a:pathLst>
              </a:custGeom>
              <a:solidFill>
                <a:srgbClr val="119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322A26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7615A563-DD2F-D9E6-B569-EE1C4C60A1D7}"/>
                  </a:ext>
                </a:extLst>
              </p:cNvPr>
              <p:cNvSpPr/>
              <p:nvPr/>
            </p:nvSpPr>
            <p:spPr>
              <a:xfrm>
                <a:off x="-1996782" y="5400911"/>
                <a:ext cx="22587" cy="39872"/>
              </a:xfrm>
              <a:custGeom>
                <a:avLst/>
                <a:gdLst>
                  <a:gd name="connsiteX0" fmla="*/ 22588 w 22587"/>
                  <a:gd name="connsiteY0" fmla="*/ 39872 h 39872"/>
                  <a:gd name="connsiteX1" fmla="*/ 0 w 22587"/>
                  <a:gd name="connsiteY1" fmla="*/ 39872 h 39872"/>
                  <a:gd name="connsiteX2" fmla="*/ 0 w 22587"/>
                  <a:gd name="connsiteY2" fmla="*/ 11275 h 39872"/>
                  <a:gd name="connsiteX3" fmla="*/ 11275 w 22587"/>
                  <a:gd name="connsiteY3" fmla="*/ 0 h 39872"/>
                  <a:gd name="connsiteX4" fmla="*/ 22551 w 22587"/>
                  <a:gd name="connsiteY4" fmla="*/ 11275 h 39872"/>
                  <a:gd name="connsiteX5" fmla="*/ 22551 w 22587"/>
                  <a:gd name="connsiteY5" fmla="*/ 39872 h 3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" h="39872">
                    <a:moveTo>
                      <a:pt x="22588" y="39872"/>
                    </a:moveTo>
                    <a:lnTo>
                      <a:pt x="0" y="39872"/>
                    </a:lnTo>
                    <a:lnTo>
                      <a:pt x="0" y="11275"/>
                    </a:lnTo>
                    <a:cubicBezTo>
                      <a:pt x="0" y="5044"/>
                      <a:pt x="5044" y="0"/>
                      <a:pt x="11275" y="0"/>
                    </a:cubicBezTo>
                    <a:cubicBezTo>
                      <a:pt x="17507" y="0"/>
                      <a:pt x="22551" y="5044"/>
                      <a:pt x="22551" y="11275"/>
                    </a:cubicBezTo>
                    <a:lnTo>
                      <a:pt x="22551" y="39872"/>
                    </a:lnTo>
                    <a:close/>
                  </a:path>
                </a:pathLst>
              </a:custGeom>
              <a:solidFill>
                <a:srgbClr val="119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322A26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934E406E-23EC-6FF5-A68F-FA288D3866D2}"/>
                  </a:ext>
                </a:extLst>
              </p:cNvPr>
              <p:cNvSpPr/>
              <p:nvPr/>
            </p:nvSpPr>
            <p:spPr>
              <a:xfrm>
                <a:off x="-1925828" y="5400911"/>
                <a:ext cx="22587" cy="39872"/>
              </a:xfrm>
              <a:custGeom>
                <a:avLst/>
                <a:gdLst>
                  <a:gd name="connsiteX0" fmla="*/ 22588 w 22587"/>
                  <a:gd name="connsiteY0" fmla="*/ 39872 h 39872"/>
                  <a:gd name="connsiteX1" fmla="*/ 0 w 22587"/>
                  <a:gd name="connsiteY1" fmla="*/ 39872 h 39872"/>
                  <a:gd name="connsiteX2" fmla="*/ 0 w 22587"/>
                  <a:gd name="connsiteY2" fmla="*/ 11275 h 39872"/>
                  <a:gd name="connsiteX3" fmla="*/ 11275 w 22587"/>
                  <a:gd name="connsiteY3" fmla="*/ 0 h 39872"/>
                  <a:gd name="connsiteX4" fmla="*/ 22551 w 22587"/>
                  <a:gd name="connsiteY4" fmla="*/ 11275 h 39872"/>
                  <a:gd name="connsiteX5" fmla="*/ 22551 w 22587"/>
                  <a:gd name="connsiteY5" fmla="*/ 39872 h 3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" h="39872">
                    <a:moveTo>
                      <a:pt x="22588" y="39872"/>
                    </a:moveTo>
                    <a:lnTo>
                      <a:pt x="0" y="39872"/>
                    </a:lnTo>
                    <a:lnTo>
                      <a:pt x="0" y="11275"/>
                    </a:lnTo>
                    <a:cubicBezTo>
                      <a:pt x="0" y="5044"/>
                      <a:pt x="5044" y="0"/>
                      <a:pt x="11275" y="0"/>
                    </a:cubicBezTo>
                    <a:cubicBezTo>
                      <a:pt x="17507" y="0"/>
                      <a:pt x="22551" y="5044"/>
                      <a:pt x="22551" y="11275"/>
                    </a:cubicBezTo>
                    <a:lnTo>
                      <a:pt x="22551" y="39872"/>
                    </a:lnTo>
                    <a:close/>
                  </a:path>
                </a:pathLst>
              </a:custGeom>
              <a:solidFill>
                <a:srgbClr val="119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322A26"/>
                  </a:solidFill>
                  <a:effectLst/>
                  <a:uLnTx/>
                  <a:uFillTx/>
                  <a:latin typeface="EnBW DIN Pro"/>
                  <a:ea typeface="+mn-ea"/>
                  <a:cs typeface="+mn-cs"/>
                </a:endParaRPr>
              </a:p>
            </p:txBody>
          </p:sp>
        </p:grp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49746F19-0CBB-2687-701F-475CA52E80AB}"/>
                </a:ext>
              </a:extLst>
            </p:cNvPr>
            <p:cNvSpPr/>
            <p:nvPr/>
          </p:nvSpPr>
          <p:spPr>
            <a:xfrm flipH="1">
              <a:off x="9665162" y="400260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4B81DDFF-C40D-342F-E87B-C91DA371E937}"/>
                </a:ext>
              </a:extLst>
            </p:cNvPr>
            <p:cNvSpPr/>
            <p:nvPr/>
          </p:nvSpPr>
          <p:spPr>
            <a:xfrm flipH="1">
              <a:off x="9192685" y="400260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935E377-1469-B545-B60C-D51298CB4A3E}"/>
                </a:ext>
              </a:extLst>
            </p:cNvPr>
            <p:cNvSpPr/>
            <p:nvPr/>
          </p:nvSpPr>
          <p:spPr>
            <a:xfrm flipH="1">
              <a:off x="8720209" y="400260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DB9C708-874B-7D94-10CD-E204862D0AE4}"/>
                </a:ext>
              </a:extLst>
            </p:cNvPr>
            <p:cNvSpPr/>
            <p:nvPr/>
          </p:nvSpPr>
          <p:spPr>
            <a:xfrm flipH="1">
              <a:off x="9437560" y="4385228"/>
              <a:ext cx="90347" cy="55786"/>
            </a:xfrm>
            <a:custGeom>
              <a:avLst/>
              <a:gdLst>
                <a:gd name="connsiteX0" fmla="*/ 0 w 13575"/>
                <a:gd name="connsiteY0" fmla="*/ 0 h 8382"/>
                <a:gd name="connsiteX1" fmla="*/ 13575 w 13575"/>
                <a:gd name="connsiteY1" fmla="*/ 0 h 8382"/>
                <a:gd name="connsiteX2" fmla="*/ 13575 w 13575"/>
                <a:gd name="connsiteY2" fmla="*/ 8382 h 8382"/>
                <a:gd name="connsiteX3" fmla="*/ 0 w 13575"/>
                <a:gd name="connsiteY3" fmla="*/ 8382 h 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8382">
                  <a:moveTo>
                    <a:pt x="0" y="0"/>
                  </a:moveTo>
                  <a:lnTo>
                    <a:pt x="13575" y="0"/>
                  </a:lnTo>
                  <a:lnTo>
                    <a:pt x="13575" y="8382"/>
                  </a:lnTo>
                  <a:lnTo>
                    <a:pt x="0" y="8382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9C3EA285-041F-150A-590F-E8692E49108A}"/>
                </a:ext>
              </a:extLst>
            </p:cNvPr>
            <p:cNvSpPr/>
            <p:nvPr/>
          </p:nvSpPr>
          <p:spPr>
            <a:xfrm flipH="1">
              <a:off x="8937929" y="4385228"/>
              <a:ext cx="90347" cy="55786"/>
            </a:xfrm>
            <a:custGeom>
              <a:avLst/>
              <a:gdLst>
                <a:gd name="connsiteX0" fmla="*/ 0 w 13575"/>
                <a:gd name="connsiteY0" fmla="*/ 0 h 8382"/>
                <a:gd name="connsiteX1" fmla="*/ 13575 w 13575"/>
                <a:gd name="connsiteY1" fmla="*/ 0 h 8382"/>
                <a:gd name="connsiteX2" fmla="*/ 13575 w 13575"/>
                <a:gd name="connsiteY2" fmla="*/ 8382 h 8382"/>
                <a:gd name="connsiteX3" fmla="*/ 0 w 13575"/>
                <a:gd name="connsiteY3" fmla="*/ 8382 h 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8382">
                  <a:moveTo>
                    <a:pt x="0" y="0"/>
                  </a:moveTo>
                  <a:lnTo>
                    <a:pt x="13575" y="0"/>
                  </a:lnTo>
                  <a:lnTo>
                    <a:pt x="13575" y="8382"/>
                  </a:lnTo>
                  <a:lnTo>
                    <a:pt x="0" y="8382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21EED757-6F9D-B2F6-0941-A0E7CBF6586B}"/>
                </a:ext>
              </a:extLst>
            </p:cNvPr>
            <p:cNvSpPr/>
            <p:nvPr/>
          </p:nvSpPr>
          <p:spPr>
            <a:xfrm flipH="1">
              <a:off x="9665162" y="4002607"/>
              <a:ext cx="90347" cy="47147"/>
            </a:xfrm>
            <a:custGeom>
              <a:avLst/>
              <a:gdLst>
                <a:gd name="connsiteX0" fmla="*/ 0 w 13575"/>
                <a:gd name="connsiteY0" fmla="*/ 0 h 7084"/>
                <a:gd name="connsiteX1" fmla="*/ 13575 w 13575"/>
                <a:gd name="connsiteY1" fmla="*/ 0 h 7084"/>
                <a:gd name="connsiteX2" fmla="*/ 13575 w 13575"/>
                <a:gd name="connsiteY2" fmla="*/ 7084 h 7084"/>
                <a:gd name="connsiteX3" fmla="*/ 0 w 13575"/>
                <a:gd name="connsiteY3" fmla="*/ 7084 h 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7084">
                  <a:moveTo>
                    <a:pt x="0" y="0"/>
                  </a:moveTo>
                  <a:lnTo>
                    <a:pt x="13575" y="0"/>
                  </a:lnTo>
                  <a:lnTo>
                    <a:pt x="13575" y="7084"/>
                  </a:lnTo>
                  <a:lnTo>
                    <a:pt x="0" y="7084"/>
                  </a:ln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27845940-2849-2346-6FC1-7A00467D7D64}"/>
                </a:ext>
              </a:extLst>
            </p:cNvPr>
            <p:cNvSpPr/>
            <p:nvPr/>
          </p:nvSpPr>
          <p:spPr>
            <a:xfrm flipH="1">
              <a:off x="9192685" y="4002607"/>
              <a:ext cx="90347" cy="47147"/>
            </a:xfrm>
            <a:custGeom>
              <a:avLst/>
              <a:gdLst>
                <a:gd name="connsiteX0" fmla="*/ 0 w 13575"/>
                <a:gd name="connsiteY0" fmla="*/ 0 h 7084"/>
                <a:gd name="connsiteX1" fmla="*/ 13575 w 13575"/>
                <a:gd name="connsiteY1" fmla="*/ 0 h 7084"/>
                <a:gd name="connsiteX2" fmla="*/ 13575 w 13575"/>
                <a:gd name="connsiteY2" fmla="*/ 7084 h 7084"/>
                <a:gd name="connsiteX3" fmla="*/ 0 w 13575"/>
                <a:gd name="connsiteY3" fmla="*/ 7084 h 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7084">
                  <a:moveTo>
                    <a:pt x="0" y="0"/>
                  </a:moveTo>
                  <a:lnTo>
                    <a:pt x="13575" y="0"/>
                  </a:lnTo>
                  <a:lnTo>
                    <a:pt x="13575" y="7084"/>
                  </a:lnTo>
                  <a:lnTo>
                    <a:pt x="0" y="7084"/>
                  </a:ln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45F9F93-8346-27D6-ABF4-B8B623059355}"/>
                </a:ext>
              </a:extLst>
            </p:cNvPr>
            <p:cNvSpPr/>
            <p:nvPr/>
          </p:nvSpPr>
          <p:spPr>
            <a:xfrm flipH="1">
              <a:off x="8720209" y="4002607"/>
              <a:ext cx="90347" cy="47147"/>
            </a:xfrm>
            <a:custGeom>
              <a:avLst/>
              <a:gdLst>
                <a:gd name="connsiteX0" fmla="*/ 0 w 13575"/>
                <a:gd name="connsiteY0" fmla="*/ 0 h 7084"/>
                <a:gd name="connsiteX1" fmla="*/ 13575 w 13575"/>
                <a:gd name="connsiteY1" fmla="*/ 0 h 7084"/>
                <a:gd name="connsiteX2" fmla="*/ 13575 w 13575"/>
                <a:gd name="connsiteY2" fmla="*/ 7084 h 7084"/>
                <a:gd name="connsiteX3" fmla="*/ 0 w 13575"/>
                <a:gd name="connsiteY3" fmla="*/ 7084 h 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7084">
                  <a:moveTo>
                    <a:pt x="0" y="0"/>
                  </a:moveTo>
                  <a:lnTo>
                    <a:pt x="13575" y="0"/>
                  </a:lnTo>
                  <a:lnTo>
                    <a:pt x="13575" y="7084"/>
                  </a:lnTo>
                  <a:lnTo>
                    <a:pt x="0" y="7084"/>
                  </a:ln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E1644D37-D5BC-01D8-E82E-9003F704647A}"/>
                </a:ext>
              </a:extLst>
            </p:cNvPr>
            <p:cNvSpPr/>
            <p:nvPr/>
          </p:nvSpPr>
          <p:spPr>
            <a:xfrm flipH="1">
              <a:off x="7602961" y="3539202"/>
              <a:ext cx="917298" cy="1359473"/>
            </a:xfrm>
            <a:custGeom>
              <a:avLst/>
              <a:gdLst>
                <a:gd name="connsiteX0" fmla="*/ 137828 w 137827"/>
                <a:gd name="connsiteY0" fmla="*/ 204266 h 204265"/>
                <a:gd name="connsiteX1" fmla="*/ 0 w 137827"/>
                <a:gd name="connsiteY1" fmla="*/ 204266 h 204265"/>
                <a:gd name="connsiteX2" fmla="*/ 0 w 137827"/>
                <a:gd name="connsiteY2" fmla="*/ 83499 h 204265"/>
                <a:gd name="connsiteX3" fmla="*/ 64389 w 137827"/>
                <a:gd name="connsiteY3" fmla="*/ 2198 h 204265"/>
                <a:gd name="connsiteX4" fmla="*/ 73439 w 137827"/>
                <a:gd name="connsiteY4" fmla="*/ 2198 h 204265"/>
                <a:gd name="connsiteX5" fmla="*/ 137828 w 137827"/>
                <a:gd name="connsiteY5" fmla="*/ 83499 h 204265"/>
                <a:gd name="connsiteX6" fmla="*/ 137828 w 137827"/>
                <a:gd name="connsiteY6" fmla="*/ 204266 h 20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827" h="204265">
                  <a:moveTo>
                    <a:pt x="137828" y="204266"/>
                  </a:moveTo>
                  <a:lnTo>
                    <a:pt x="0" y="204266"/>
                  </a:lnTo>
                  <a:lnTo>
                    <a:pt x="0" y="83499"/>
                  </a:lnTo>
                  <a:lnTo>
                    <a:pt x="64389" y="2198"/>
                  </a:lnTo>
                  <a:cubicBezTo>
                    <a:pt x="66688" y="-733"/>
                    <a:pt x="71139" y="-733"/>
                    <a:pt x="73439" y="2198"/>
                  </a:cubicBezTo>
                  <a:lnTo>
                    <a:pt x="137828" y="83499"/>
                  </a:lnTo>
                  <a:lnTo>
                    <a:pt x="137828" y="204266"/>
                  </a:lnTo>
                  <a:close/>
                </a:path>
              </a:pathLst>
            </a:custGeom>
            <a:solidFill>
              <a:srgbClr val="F6E8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1782A767-974D-C38A-8420-7FF4FEE17B12}"/>
                </a:ext>
              </a:extLst>
            </p:cNvPr>
            <p:cNvSpPr/>
            <p:nvPr/>
          </p:nvSpPr>
          <p:spPr>
            <a:xfrm flipH="1">
              <a:off x="7603207" y="4094431"/>
              <a:ext cx="917053" cy="59733"/>
            </a:xfrm>
            <a:custGeom>
              <a:avLst/>
              <a:gdLst>
                <a:gd name="connsiteX0" fmla="*/ 0 w 137790"/>
                <a:gd name="connsiteY0" fmla="*/ 0 h 8975"/>
                <a:gd name="connsiteX1" fmla="*/ 137791 w 137790"/>
                <a:gd name="connsiteY1" fmla="*/ 0 h 8975"/>
                <a:gd name="connsiteX2" fmla="*/ 137791 w 137790"/>
                <a:gd name="connsiteY2" fmla="*/ 8976 h 8975"/>
                <a:gd name="connsiteX3" fmla="*/ 0 w 137790"/>
                <a:gd name="connsiteY3" fmla="*/ 8976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790" h="8975">
                  <a:moveTo>
                    <a:pt x="0" y="0"/>
                  </a:moveTo>
                  <a:lnTo>
                    <a:pt x="137791" y="0"/>
                  </a:lnTo>
                  <a:lnTo>
                    <a:pt x="137791" y="8976"/>
                  </a:lnTo>
                  <a:lnTo>
                    <a:pt x="0" y="8976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B4CE427A-169E-3750-FA6E-37789B4197C4}"/>
                </a:ext>
              </a:extLst>
            </p:cNvPr>
            <p:cNvSpPr/>
            <p:nvPr/>
          </p:nvSpPr>
          <p:spPr>
            <a:xfrm flipH="1">
              <a:off x="7602961" y="4499515"/>
              <a:ext cx="914337" cy="59733"/>
            </a:xfrm>
            <a:custGeom>
              <a:avLst/>
              <a:gdLst>
                <a:gd name="connsiteX0" fmla="*/ 0 w 137382"/>
                <a:gd name="connsiteY0" fmla="*/ 0 h 8975"/>
                <a:gd name="connsiteX1" fmla="*/ 137382 w 137382"/>
                <a:gd name="connsiteY1" fmla="*/ 0 h 8975"/>
                <a:gd name="connsiteX2" fmla="*/ 137382 w 137382"/>
                <a:gd name="connsiteY2" fmla="*/ 8976 h 8975"/>
                <a:gd name="connsiteX3" fmla="*/ 0 w 137382"/>
                <a:gd name="connsiteY3" fmla="*/ 8976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82" h="8975">
                  <a:moveTo>
                    <a:pt x="0" y="0"/>
                  </a:moveTo>
                  <a:lnTo>
                    <a:pt x="137382" y="0"/>
                  </a:lnTo>
                  <a:lnTo>
                    <a:pt x="137382" y="8976"/>
                  </a:lnTo>
                  <a:lnTo>
                    <a:pt x="0" y="8976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BE86FDE8-7F37-E0FF-C53D-432F6812B545}"/>
                </a:ext>
              </a:extLst>
            </p:cNvPr>
            <p:cNvSpPr/>
            <p:nvPr/>
          </p:nvSpPr>
          <p:spPr>
            <a:xfrm flipH="1">
              <a:off x="7937689" y="4125040"/>
              <a:ext cx="59733" cy="391999"/>
            </a:xfrm>
            <a:custGeom>
              <a:avLst/>
              <a:gdLst>
                <a:gd name="connsiteX0" fmla="*/ 0 w 8975"/>
                <a:gd name="connsiteY0" fmla="*/ 0 h 58899"/>
                <a:gd name="connsiteX1" fmla="*/ 8976 w 8975"/>
                <a:gd name="connsiteY1" fmla="*/ 0 h 58899"/>
                <a:gd name="connsiteX2" fmla="*/ 8976 w 8975"/>
                <a:gd name="connsiteY2" fmla="*/ 58900 h 58899"/>
                <a:gd name="connsiteX3" fmla="*/ 0 w 8975"/>
                <a:gd name="connsiteY3" fmla="*/ 58900 h 58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5" h="58899">
                  <a:moveTo>
                    <a:pt x="0" y="0"/>
                  </a:moveTo>
                  <a:lnTo>
                    <a:pt x="8976" y="0"/>
                  </a:lnTo>
                  <a:lnTo>
                    <a:pt x="8976" y="58900"/>
                  </a:lnTo>
                  <a:lnTo>
                    <a:pt x="0" y="58900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DFB3C3F5-C1A7-3369-A4CF-AD85723AB563}"/>
                </a:ext>
              </a:extLst>
            </p:cNvPr>
            <p:cNvSpPr/>
            <p:nvPr/>
          </p:nvSpPr>
          <p:spPr>
            <a:xfrm flipH="1">
              <a:off x="7602873" y="4112455"/>
              <a:ext cx="353817" cy="426554"/>
            </a:xfrm>
            <a:custGeom>
              <a:avLst/>
              <a:gdLst>
                <a:gd name="connsiteX0" fmla="*/ 46585 w 53162"/>
                <a:gd name="connsiteY0" fmla="*/ 64092 h 64091"/>
                <a:gd name="connsiteX1" fmla="*/ 0 w 53162"/>
                <a:gd name="connsiteY1" fmla="*/ 5601 h 64091"/>
                <a:gd name="connsiteX2" fmla="*/ 7010 w 53162"/>
                <a:gd name="connsiteY2" fmla="*/ 0 h 64091"/>
                <a:gd name="connsiteX3" fmla="*/ 52928 w 53162"/>
                <a:gd name="connsiteY3" fmla="*/ 57638 h 64091"/>
                <a:gd name="connsiteX4" fmla="*/ 52742 w 53162"/>
                <a:gd name="connsiteY4" fmla="*/ 59196 h 64091"/>
                <a:gd name="connsiteX5" fmla="*/ 46585 w 53162"/>
                <a:gd name="connsiteY5" fmla="*/ 64092 h 6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62" h="64091">
                  <a:moveTo>
                    <a:pt x="46585" y="64092"/>
                  </a:moveTo>
                  <a:lnTo>
                    <a:pt x="0" y="5601"/>
                  </a:lnTo>
                  <a:lnTo>
                    <a:pt x="7010" y="0"/>
                  </a:lnTo>
                  <a:lnTo>
                    <a:pt x="52928" y="57638"/>
                  </a:lnTo>
                  <a:cubicBezTo>
                    <a:pt x="53299" y="58120"/>
                    <a:pt x="53225" y="58825"/>
                    <a:pt x="52742" y="59196"/>
                  </a:cubicBezTo>
                  <a:lnTo>
                    <a:pt x="46585" y="64092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04E4584F-3E41-77C9-2ECA-0C7D75FD7E42}"/>
                </a:ext>
              </a:extLst>
            </p:cNvPr>
            <p:cNvSpPr/>
            <p:nvPr/>
          </p:nvSpPr>
          <p:spPr>
            <a:xfrm flipH="1">
              <a:off x="8016430" y="378438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9B03CC90-0B28-1B5A-AD43-30E554F3701D}"/>
                </a:ext>
              </a:extLst>
            </p:cNvPr>
            <p:cNvSpPr/>
            <p:nvPr/>
          </p:nvSpPr>
          <p:spPr>
            <a:xfrm flipH="1">
              <a:off x="8273650" y="4237111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4A3A0363-F148-37C5-3D0D-E9DAA754F9B3}"/>
                </a:ext>
              </a:extLst>
            </p:cNvPr>
            <p:cNvSpPr/>
            <p:nvPr/>
          </p:nvSpPr>
          <p:spPr>
            <a:xfrm flipH="1">
              <a:off x="7747364" y="4637508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F700DB23-FD67-2313-6D26-6E0156A02AD3}"/>
                </a:ext>
              </a:extLst>
            </p:cNvPr>
            <p:cNvSpPr/>
            <p:nvPr/>
          </p:nvSpPr>
          <p:spPr>
            <a:xfrm flipH="1">
              <a:off x="7561984" y="3505200"/>
              <a:ext cx="999254" cy="616880"/>
            </a:xfrm>
            <a:custGeom>
              <a:avLst/>
              <a:gdLst>
                <a:gd name="connsiteX0" fmla="*/ 146025 w 150141"/>
                <a:gd name="connsiteY0" fmla="*/ 92689 h 92688"/>
                <a:gd name="connsiteX1" fmla="*/ 77816 w 150141"/>
                <a:gd name="connsiteY1" fmla="*/ 6565 h 92688"/>
                <a:gd name="connsiteX2" fmla="*/ 75071 w 150141"/>
                <a:gd name="connsiteY2" fmla="*/ 5230 h 92688"/>
                <a:gd name="connsiteX3" fmla="*/ 72326 w 150141"/>
                <a:gd name="connsiteY3" fmla="*/ 6565 h 92688"/>
                <a:gd name="connsiteX4" fmla="*/ 4117 w 150141"/>
                <a:gd name="connsiteY4" fmla="*/ 92689 h 92688"/>
                <a:gd name="connsiteX5" fmla="*/ 0 w 150141"/>
                <a:gd name="connsiteY5" fmla="*/ 89425 h 92688"/>
                <a:gd name="connsiteX6" fmla="*/ 68209 w 150141"/>
                <a:gd name="connsiteY6" fmla="*/ 3301 h 92688"/>
                <a:gd name="connsiteX7" fmla="*/ 75071 w 150141"/>
                <a:gd name="connsiteY7" fmla="*/ 0 h 92688"/>
                <a:gd name="connsiteX8" fmla="*/ 81933 w 150141"/>
                <a:gd name="connsiteY8" fmla="*/ 3301 h 92688"/>
                <a:gd name="connsiteX9" fmla="*/ 150142 w 150141"/>
                <a:gd name="connsiteY9" fmla="*/ 89425 h 92688"/>
                <a:gd name="connsiteX10" fmla="*/ 146025 w 150141"/>
                <a:gd name="connsiteY10" fmla="*/ 92689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0141" h="92688">
                  <a:moveTo>
                    <a:pt x="146025" y="92689"/>
                  </a:moveTo>
                  <a:lnTo>
                    <a:pt x="77816" y="6565"/>
                  </a:lnTo>
                  <a:cubicBezTo>
                    <a:pt x="77148" y="5712"/>
                    <a:pt x="76147" y="5230"/>
                    <a:pt x="75071" y="5230"/>
                  </a:cubicBezTo>
                  <a:cubicBezTo>
                    <a:pt x="73995" y="5230"/>
                    <a:pt x="72994" y="5712"/>
                    <a:pt x="72326" y="6565"/>
                  </a:cubicBezTo>
                  <a:lnTo>
                    <a:pt x="4117" y="92689"/>
                  </a:lnTo>
                  <a:lnTo>
                    <a:pt x="0" y="89425"/>
                  </a:lnTo>
                  <a:lnTo>
                    <a:pt x="68209" y="3301"/>
                  </a:lnTo>
                  <a:cubicBezTo>
                    <a:pt x="69878" y="1187"/>
                    <a:pt x="72363" y="0"/>
                    <a:pt x="75071" y="0"/>
                  </a:cubicBezTo>
                  <a:cubicBezTo>
                    <a:pt x="77779" y="0"/>
                    <a:pt x="80264" y="1224"/>
                    <a:pt x="81933" y="3301"/>
                  </a:cubicBezTo>
                  <a:lnTo>
                    <a:pt x="150142" y="89425"/>
                  </a:lnTo>
                  <a:lnTo>
                    <a:pt x="146025" y="92689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5D0A731A-E3F4-BD1A-C36C-7254B4B6BCD6}"/>
                </a:ext>
              </a:extLst>
            </p:cNvPr>
            <p:cNvSpPr/>
            <p:nvPr/>
          </p:nvSpPr>
          <p:spPr>
            <a:xfrm flipH="1">
              <a:off x="8016430" y="3784387"/>
              <a:ext cx="90347" cy="44185"/>
            </a:xfrm>
            <a:custGeom>
              <a:avLst/>
              <a:gdLst>
                <a:gd name="connsiteX0" fmla="*/ 0 w 13575"/>
                <a:gd name="connsiteY0" fmla="*/ 0 h 6639"/>
                <a:gd name="connsiteX1" fmla="*/ 13575 w 13575"/>
                <a:gd name="connsiteY1" fmla="*/ 0 h 6639"/>
                <a:gd name="connsiteX2" fmla="*/ 13575 w 13575"/>
                <a:gd name="connsiteY2" fmla="*/ 6639 h 6639"/>
                <a:gd name="connsiteX3" fmla="*/ 0 w 13575"/>
                <a:gd name="connsiteY3" fmla="*/ 6639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639">
                  <a:moveTo>
                    <a:pt x="0" y="0"/>
                  </a:moveTo>
                  <a:lnTo>
                    <a:pt x="13575" y="0"/>
                  </a:lnTo>
                  <a:lnTo>
                    <a:pt x="13575" y="6639"/>
                  </a:lnTo>
                  <a:lnTo>
                    <a:pt x="0" y="6639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FA2F370-9346-9742-FEAE-6C19FC33EA2C}"/>
                </a:ext>
              </a:extLst>
            </p:cNvPr>
            <p:cNvSpPr/>
            <p:nvPr/>
          </p:nvSpPr>
          <p:spPr>
            <a:xfrm flipH="1">
              <a:off x="8273650" y="4237111"/>
              <a:ext cx="90347" cy="44185"/>
            </a:xfrm>
            <a:custGeom>
              <a:avLst/>
              <a:gdLst>
                <a:gd name="connsiteX0" fmla="*/ 0 w 13575"/>
                <a:gd name="connsiteY0" fmla="*/ 0 h 6639"/>
                <a:gd name="connsiteX1" fmla="*/ 13575 w 13575"/>
                <a:gd name="connsiteY1" fmla="*/ 0 h 6639"/>
                <a:gd name="connsiteX2" fmla="*/ 13575 w 13575"/>
                <a:gd name="connsiteY2" fmla="*/ 6639 h 6639"/>
                <a:gd name="connsiteX3" fmla="*/ 0 w 13575"/>
                <a:gd name="connsiteY3" fmla="*/ 6639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639">
                  <a:moveTo>
                    <a:pt x="0" y="0"/>
                  </a:moveTo>
                  <a:lnTo>
                    <a:pt x="13575" y="0"/>
                  </a:lnTo>
                  <a:lnTo>
                    <a:pt x="13575" y="6639"/>
                  </a:lnTo>
                  <a:lnTo>
                    <a:pt x="0" y="6639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3A6ADDCA-AEAC-3E1E-5BCF-6B46D0B9935C}"/>
                </a:ext>
              </a:extLst>
            </p:cNvPr>
            <p:cNvSpPr/>
            <p:nvPr/>
          </p:nvSpPr>
          <p:spPr>
            <a:xfrm flipH="1">
              <a:off x="7747364" y="4637508"/>
              <a:ext cx="90347" cy="44185"/>
            </a:xfrm>
            <a:custGeom>
              <a:avLst/>
              <a:gdLst>
                <a:gd name="connsiteX0" fmla="*/ 0 w 13575"/>
                <a:gd name="connsiteY0" fmla="*/ 0 h 6639"/>
                <a:gd name="connsiteX1" fmla="*/ 13575 w 13575"/>
                <a:gd name="connsiteY1" fmla="*/ 0 h 6639"/>
                <a:gd name="connsiteX2" fmla="*/ 13575 w 13575"/>
                <a:gd name="connsiteY2" fmla="*/ 6639 h 6639"/>
                <a:gd name="connsiteX3" fmla="*/ 0 w 13575"/>
                <a:gd name="connsiteY3" fmla="*/ 6639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639">
                  <a:moveTo>
                    <a:pt x="0" y="0"/>
                  </a:moveTo>
                  <a:lnTo>
                    <a:pt x="13575" y="0"/>
                  </a:lnTo>
                  <a:lnTo>
                    <a:pt x="13575" y="6639"/>
                  </a:lnTo>
                  <a:lnTo>
                    <a:pt x="0" y="6639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272" name="Freihandform: Form 271">
            <a:extLst>
              <a:ext uri="{FF2B5EF4-FFF2-40B4-BE49-F238E27FC236}">
                <a16:creationId xmlns:a16="http://schemas.microsoft.com/office/drawing/2014/main" id="{4EDFA3BF-4C04-3DC6-32ED-0F4FF3F97F04}"/>
              </a:ext>
            </a:extLst>
          </p:cNvPr>
          <p:cNvSpPr/>
          <p:nvPr/>
        </p:nvSpPr>
        <p:spPr>
          <a:xfrm>
            <a:off x="4943872" y="5579855"/>
            <a:ext cx="2443193" cy="358300"/>
          </a:xfrm>
          <a:custGeom>
            <a:avLst/>
            <a:gdLst>
              <a:gd name="connsiteX0" fmla="*/ 0 w 4363622"/>
              <a:gd name="connsiteY0" fmla="*/ 0 h 511396"/>
              <a:gd name="connsiteX1" fmla="*/ 4363622 w 4363622"/>
              <a:gd name="connsiteY1" fmla="*/ 0 h 511396"/>
              <a:gd name="connsiteX2" fmla="*/ 4363622 w 4363622"/>
              <a:gd name="connsiteY2" fmla="*/ 511396 h 511396"/>
              <a:gd name="connsiteX3" fmla="*/ 0 w 4363622"/>
              <a:gd name="connsiteY3" fmla="*/ 511396 h 511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3622" h="511396">
                <a:moveTo>
                  <a:pt x="0" y="0"/>
                </a:moveTo>
                <a:lnTo>
                  <a:pt x="4363622" y="0"/>
                </a:lnTo>
                <a:lnTo>
                  <a:pt x="4363622" y="511396"/>
                </a:lnTo>
                <a:lnTo>
                  <a:pt x="0" y="511396"/>
                </a:lnTo>
                <a:close/>
              </a:path>
            </a:pathLst>
          </a:custGeom>
          <a:solidFill>
            <a:srgbClr val="AD8653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82" name="Freihandform: Form 81">
            <a:extLst>
              <a:ext uri="{FF2B5EF4-FFF2-40B4-BE49-F238E27FC236}">
                <a16:creationId xmlns:a16="http://schemas.microsoft.com/office/drawing/2014/main" id="{B6E9FBC1-C0CF-B36E-A8E5-A38F8549D812}"/>
              </a:ext>
            </a:extLst>
          </p:cNvPr>
          <p:cNvSpPr/>
          <p:nvPr/>
        </p:nvSpPr>
        <p:spPr>
          <a:xfrm>
            <a:off x="8292214" y="5058936"/>
            <a:ext cx="661994" cy="247238"/>
          </a:xfrm>
          <a:custGeom>
            <a:avLst/>
            <a:gdLst>
              <a:gd name="connsiteX0" fmla="*/ 240531 w 240531"/>
              <a:gd name="connsiteY0" fmla="*/ 89833 h 89832"/>
              <a:gd name="connsiteX1" fmla="*/ 0 w 240531"/>
              <a:gd name="connsiteY1" fmla="*/ 89833 h 89832"/>
              <a:gd name="connsiteX2" fmla="*/ 0 w 240531"/>
              <a:gd name="connsiteY2" fmla="*/ 0 h 89832"/>
              <a:gd name="connsiteX3" fmla="*/ 137383 w 240531"/>
              <a:gd name="connsiteY3" fmla="*/ 0 h 89832"/>
              <a:gd name="connsiteX4" fmla="*/ 182040 w 240531"/>
              <a:gd name="connsiteY4" fmla="*/ 20696 h 89832"/>
              <a:gd name="connsiteX5" fmla="*/ 240531 w 240531"/>
              <a:gd name="connsiteY5" fmla="*/ 89833 h 8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531" h="89832">
                <a:moveTo>
                  <a:pt x="240531" y="89833"/>
                </a:moveTo>
                <a:lnTo>
                  <a:pt x="0" y="89833"/>
                </a:lnTo>
                <a:lnTo>
                  <a:pt x="0" y="0"/>
                </a:lnTo>
                <a:lnTo>
                  <a:pt x="137383" y="0"/>
                </a:lnTo>
                <a:cubicBezTo>
                  <a:pt x="154593" y="0"/>
                  <a:pt x="170912" y="7567"/>
                  <a:pt x="182040" y="20696"/>
                </a:cubicBezTo>
                <a:lnTo>
                  <a:pt x="240531" y="89833"/>
                </a:lnTo>
                <a:close/>
              </a:path>
            </a:pathLst>
          </a:custGeom>
          <a:solidFill>
            <a:srgbClr val="0059B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83" name="Freihandform: Form 82">
            <a:extLst>
              <a:ext uri="{FF2B5EF4-FFF2-40B4-BE49-F238E27FC236}">
                <a16:creationId xmlns:a16="http://schemas.microsoft.com/office/drawing/2014/main" id="{0683C03D-9426-A1EF-70C2-25225D3FD4EE}"/>
              </a:ext>
            </a:extLst>
          </p:cNvPr>
          <p:cNvSpPr/>
          <p:nvPr/>
        </p:nvSpPr>
        <p:spPr>
          <a:xfrm>
            <a:off x="8292214" y="5306176"/>
            <a:ext cx="661992" cy="545110"/>
          </a:xfrm>
          <a:custGeom>
            <a:avLst/>
            <a:gdLst>
              <a:gd name="connsiteX0" fmla="*/ 0 w 240530"/>
              <a:gd name="connsiteY0" fmla="*/ 0 h 198062"/>
              <a:gd name="connsiteX1" fmla="*/ 240530 w 240530"/>
              <a:gd name="connsiteY1" fmla="*/ 0 h 198062"/>
              <a:gd name="connsiteX2" fmla="*/ 240530 w 240530"/>
              <a:gd name="connsiteY2" fmla="*/ 198062 h 198062"/>
              <a:gd name="connsiteX3" fmla="*/ 0 w 240530"/>
              <a:gd name="connsiteY3" fmla="*/ 198062 h 19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530" h="198062">
                <a:moveTo>
                  <a:pt x="0" y="0"/>
                </a:moveTo>
                <a:lnTo>
                  <a:pt x="240530" y="0"/>
                </a:lnTo>
                <a:lnTo>
                  <a:pt x="240530" y="198062"/>
                </a:lnTo>
                <a:lnTo>
                  <a:pt x="0" y="198062"/>
                </a:lnTo>
                <a:close/>
              </a:path>
            </a:pathLst>
          </a:custGeom>
          <a:solidFill>
            <a:srgbClr val="FEDE8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84" name="Grafik 7">
            <a:extLst>
              <a:ext uri="{FF2B5EF4-FFF2-40B4-BE49-F238E27FC236}">
                <a16:creationId xmlns:a16="http://schemas.microsoft.com/office/drawing/2014/main" id="{3B41EC1D-70A9-D2F8-1F5B-F807D6388721}"/>
              </a:ext>
            </a:extLst>
          </p:cNvPr>
          <p:cNvGrpSpPr/>
          <p:nvPr/>
        </p:nvGrpSpPr>
        <p:grpSpPr>
          <a:xfrm>
            <a:off x="8113370" y="4244128"/>
            <a:ext cx="738349" cy="1433926"/>
            <a:chOff x="-1519800" y="5164274"/>
            <a:chExt cx="268274" cy="521007"/>
          </a:xfrm>
        </p:grpSpPr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7F0C8FDF-0338-E356-F089-85DF5A39F8CF}"/>
                </a:ext>
              </a:extLst>
            </p:cNvPr>
            <p:cNvSpPr/>
            <p:nvPr/>
          </p:nvSpPr>
          <p:spPr>
            <a:xfrm>
              <a:off x="-1340246" y="5597230"/>
              <a:ext cx="16987" cy="81895"/>
            </a:xfrm>
            <a:custGeom>
              <a:avLst/>
              <a:gdLst>
                <a:gd name="connsiteX0" fmla="*/ 16988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8 w 16987"/>
                <a:gd name="connsiteY4" fmla="*/ 8494 h 81895"/>
                <a:gd name="connsiteX5" fmla="*/ 16988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8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8" y="3783"/>
                    <a:pt x="16988" y="8494"/>
                  </a:cubicBezTo>
                  <a:lnTo>
                    <a:pt x="16988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75F67032-269A-68A9-F023-D3F2FBA3DD5F}"/>
                </a:ext>
              </a:extLst>
            </p:cNvPr>
            <p:cNvSpPr/>
            <p:nvPr/>
          </p:nvSpPr>
          <p:spPr>
            <a:xfrm>
              <a:off x="-1348331" y="5675750"/>
              <a:ext cx="33195" cy="9532"/>
            </a:xfrm>
            <a:custGeom>
              <a:avLst/>
              <a:gdLst>
                <a:gd name="connsiteX0" fmla="*/ 33159 w 33195"/>
                <a:gd name="connsiteY0" fmla="*/ 9532 h 9532"/>
                <a:gd name="connsiteX1" fmla="*/ 0 w 33195"/>
                <a:gd name="connsiteY1" fmla="*/ 9532 h 9532"/>
                <a:gd name="connsiteX2" fmla="*/ 0 w 33195"/>
                <a:gd name="connsiteY2" fmla="*/ 4228 h 9532"/>
                <a:gd name="connsiteX3" fmla="*/ 4228 w 33195"/>
                <a:gd name="connsiteY3" fmla="*/ 0 h 9532"/>
                <a:gd name="connsiteX4" fmla="*/ 28967 w 33195"/>
                <a:gd name="connsiteY4" fmla="*/ 0 h 9532"/>
                <a:gd name="connsiteX5" fmla="*/ 33196 w 33195"/>
                <a:gd name="connsiteY5" fmla="*/ 4228 h 9532"/>
                <a:gd name="connsiteX6" fmla="*/ 33196 w 33195"/>
                <a:gd name="connsiteY6" fmla="*/ 9532 h 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95" h="9532">
                  <a:moveTo>
                    <a:pt x="33159" y="9532"/>
                  </a:moveTo>
                  <a:lnTo>
                    <a:pt x="0" y="9532"/>
                  </a:lnTo>
                  <a:lnTo>
                    <a:pt x="0" y="4228"/>
                  </a:lnTo>
                  <a:cubicBezTo>
                    <a:pt x="0" y="1892"/>
                    <a:pt x="1892" y="0"/>
                    <a:pt x="4228" y="0"/>
                  </a:cubicBezTo>
                  <a:lnTo>
                    <a:pt x="28967" y="0"/>
                  </a:lnTo>
                  <a:cubicBezTo>
                    <a:pt x="31304" y="0"/>
                    <a:pt x="33196" y="1892"/>
                    <a:pt x="33196" y="4228"/>
                  </a:cubicBezTo>
                  <a:lnTo>
                    <a:pt x="33196" y="9532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E465F31-283C-76F9-AB03-6375AA71690C}"/>
                </a:ext>
              </a:extLst>
            </p:cNvPr>
            <p:cNvSpPr/>
            <p:nvPr/>
          </p:nvSpPr>
          <p:spPr>
            <a:xfrm>
              <a:off x="-1403819" y="5597230"/>
              <a:ext cx="16987" cy="81895"/>
            </a:xfrm>
            <a:custGeom>
              <a:avLst/>
              <a:gdLst>
                <a:gd name="connsiteX0" fmla="*/ 16988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8 w 16987"/>
                <a:gd name="connsiteY4" fmla="*/ 8494 h 81895"/>
                <a:gd name="connsiteX5" fmla="*/ 16988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8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8" y="3783"/>
                    <a:pt x="16988" y="8494"/>
                  </a:cubicBezTo>
                  <a:lnTo>
                    <a:pt x="16988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1F3991C4-C7DE-ABF9-5CC2-066B9BEF4107}"/>
                </a:ext>
              </a:extLst>
            </p:cNvPr>
            <p:cNvSpPr/>
            <p:nvPr/>
          </p:nvSpPr>
          <p:spPr>
            <a:xfrm>
              <a:off x="-1411904" y="5675750"/>
              <a:ext cx="33158" cy="9532"/>
            </a:xfrm>
            <a:custGeom>
              <a:avLst/>
              <a:gdLst>
                <a:gd name="connsiteX0" fmla="*/ 33159 w 33158"/>
                <a:gd name="connsiteY0" fmla="*/ 9532 h 9532"/>
                <a:gd name="connsiteX1" fmla="*/ 0 w 33158"/>
                <a:gd name="connsiteY1" fmla="*/ 9532 h 9532"/>
                <a:gd name="connsiteX2" fmla="*/ 0 w 33158"/>
                <a:gd name="connsiteY2" fmla="*/ 4228 h 9532"/>
                <a:gd name="connsiteX3" fmla="*/ 4228 w 33158"/>
                <a:gd name="connsiteY3" fmla="*/ 0 h 9532"/>
                <a:gd name="connsiteX4" fmla="*/ 28930 w 33158"/>
                <a:gd name="connsiteY4" fmla="*/ 0 h 9532"/>
                <a:gd name="connsiteX5" fmla="*/ 33159 w 33158"/>
                <a:gd name="connsiteY5" fmla="*/ 4228 h 9532"/>
                <a:gd name="connsiteX6" fmla="*/ 33159 w 33158"/>
                <a:gd name="connsiteY6" fmla="*/ 9532 h 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58" h="9532">
                  <a:moveTo>
                    <a:pt x="33159" y="9532"/>
                  </a:moveTo>
                  <a:lnTo>
                    <a:pt x="0" y="9532"/>
                  </a:lnTo>
                  <a:lnTo>
                    <a:pt x="0" y="4228"/>
                  </a:lnTo>
                  <a:cubicBezTo>
                    <a:pt x="0" y="1892"/>
                    <a:pt x="1892" y="0"/>
                    <a:pt x="4228" y="0"/>
                  </a:cubicBezTo>
                  <a:lnTo>
                    <a:pt x="28930" y="0"/>
                  </a:lnTo>
                  <a:cubicBezTo>
                    <a:pt x="31267" y="0"/>
                    <a:pt x="33159" y="1892"/>
                    <a:pt x="33159" y="4228"/>
                  </a:cubicBezTo>
                  <a:lnTo>
                    <a:pt x="33159" y="9532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249E2524-BE2E-65BC-420A-CEBD969CF682}"/>
                </a:ext>
              </a:extLst>
            </p:cNvPr>
            <p:cNvSpPr/>
            <p:nvPr/>
          </p:nvSpPr>
          <p:spPr>
            <a:xfrm>
              <a:off x="-1276636" y="5597230"/>
              <a:ext cx="16987" cy="81895"/>
            </a:xfrm>
            <a:custGeom>
              <a:avLst/>
              <a:gdLst>
                <a:gd name="connsiteX0" fmla="*/ 16987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7 w 16987"/>
                <a:gd name="connsiteY4" fmla="*/ 8494 h 81895"/>
                <a:gd name="connsiteX5" fmla="*/ 16987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7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7" y="3783"/>
                    <a:pt x="16987" y="8494"/>
                  </a:cubicBezTo>
                  <a:lnTo>
                    <a:pt x="16987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97F447BA-6D4B-820E-3D4A-F4D432E77EC6}"/>
                </a:ext>
              </a:extLst>
            </p:cNvPr>
            <p:cNvSpPr/>
            <p:nvPr/>
          </p:nvSpPr>
          <p:spPr>
            <a:xfrm>
              <a:off x="-1284722" y="5675750"/>
              <a:ext cx="33196" cy="9532"/>
            </a:xfrm>
            <a:custGeom>
              <a:avLst/>
              <a:gdLst>
                <a:gd name="connsiteX0" fmla="*/ 33159 w 33196"/>
                <a:gd name="connsiteY0" fmla="*/ 9532 h 9532"/>
                <a:gd name="connsiteX1" fmla="*/ 0 w 33196"/>
                <a:gd name="connsiteY1" fmla="*/ 9532 h 9532"/>
                <a:gd name="connsiteX2" fmla="*/ 0 w 33196"/>
                <a:gd name="connsiteY2" fmla="*/ 4228 h 9532"/>
                <a:gd name="connsiteX3" fmla="*/ 4228 w 33196"/>
                <a:gd name="connsiteY3" fmla="*/ 0 h 9532"/>
                <a:gd name="connsiteX4" fmla="*/ 28968 w 33196"/>
                <a:gd name="connsiteY4" fmla="*/ 0 h 9532"/>
                <a:gd name="connsiteX5" fmla="*/ 33196 w 33196"/>
                <a:gd name="connsiteY5" fmla="*/ 4228 h 9532"/>
                <a:gd name="connsiteX6" fmla="*/ 33196 w 33196"/>
                <a:gd name="connsiteY6" fmla="*/ 9532 h 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96" h="9532">
                  <a:moveTo>
                    <a:pt x="33159" y="9532"/>
                  </a:moveTo>
                  <a:lnTo>
                    <a:pt x="0" y="9532"/>
                  </a:lnTo>
                  <a:lnTo>
                    <a:pt x="0" y="4228"/>
                  </a:lnTo>
                  <a:cubicBezTo>
                    <a:pt x="0" y="1892"/>
                    <a:pt x="1892" y="0"/>
                    <a:pt x="4228" y="0"/>
                  </a:cubicBezTo>
                  <a:lnTo>
                    <a:pt x="28968" y="0"/>
                  </a:lnTo>
                  <a:cubicBezTo>
                    <a:pt x="31304" y="0"/>
                    <a:pt x="33196" y="1892"/>
                    <a:pt x="33196" y="4228"/>
                  </a:cubicBezTo>
                  <a:lnTo>
                    <a:pt x="33196" y="9532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0FECE5E6-C835-FBD1-4E88-B3DE2199B7E3}"/>
                </a:ext>
              </a:extLst>
            </p:cNvPr>
            <p:cNvSpPr/>
            <p:nvPr/>
          </p:nvSpPr>
          <p:spPr>
            <a:xfrm>
              <a:off x="-1519800" y="5247616"/>
              <a:ext cx="81413" cy="316009"/>
            </a:xfrm>
            <a:custGeom>
              <a:avLst/>
              <a:gdLst>
                <a:gd name="connsiteX0" fmla="*/ 40725 w 81413"/>
                <a:gd name="connsiteY0" fmla="*/ 0 h 316009"/>
                <a:gd name="connsiteX1" fmla="*/ 40725 w 81413"/>
                <a:gd name="connsiteY1" fmla="*/ 0 h 316009"/>
                <a:gd name="connsiteX2" fmla="*/ 0 w 81413"/>
                <a:gd name="connsiteY2" fmla="*/ 40725 h 316009"/>
                <a:gd name="connsiteX3" fmla="*/ 0 w 81413"/>
                <a:gd name="connsiteY3" fmla="*/ 316010 h 316009"/>
                <a:gd name="connsiteX4" fmla="*/ 81413 w 81413"/>
                <a:gd name="connsiteY4" fmla="*/ 316010 h 316009"/>
                <a:gd name="connsiteX5" fmla="*/ 81413 w 81413"/>
                <a:gd name="connsiteY5" fmla="*/ 40725 h 316009"/>
                <a:gd name="connsiteX6" fmla="*/ 40688 w 81413"/>
                <a:gd name="connsiteY6" fmla="*/ 0 h 31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413" h="316009">
                  <a:moveTo>
                    <a:pt x="40725" y="0"/>
                  </a:moveTo>
                  <a:lnTo>
                    <a:pt x="40725" y="0"/>
                  </a:lnTo>
                  <a:cubicBezTo>
                    <a:pt x="18248" y="0"/>
                    <a:pt x="0" y="18211"/>
                    <a:pt x="0" y="40725"/>
                  </a:cubicBezTo>
                  <a:lnTo>
                    <a:pt x="0" y="316010"/>
                  </a:lnTo>
                  <a:lnTo>
                    <a:pt x="81413" y="316010"/>
                  </a:lnTo>
                  <a:lnTo>
                    <a:pt x="81413" y="40725"/>
                  </a:lnTo>
                  <a:cubicBezTo>
                    <a:pt x="81413" y="18248"/>
                    <a:pt x="63165" y="0"/>
                    <a:pt x="40688" y="0"/>
                  </a:cubicBezTo>
                </a:path>
              </a:pathLst>
            </a:custGeom>
            <a:solidFill>
              <a:srgbClr val="00348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6BF929B8-54E2-819C-FDF4-0330054DE404}"/>
                </a:ext>
              </a:extLst>
            </p:cNvPr>
            <p:cNvSpPr/>
            <p:nvPr/>
          </p:nvSpPr>
          <p:spPr>
            <a:xfrm>
              <a:off x="-1519726" y="5164274"/>
              <a:ext cx="81413" cy="135008"/>
            </a:xfrm>
            <a:custGeom>
              <a:avLst/>
              <a:gdLst>
                <a:gd name="connsiteX0" fmla="*/ 49367 w 81413"/>
                <a:gd name="connsiteY0" fmla="*/ 63833 h 135008"/>
                <a:gd name="connsiteX1" fmla="*/ 49367 w 81413"/>
                <a:gd name="connsiteY1" fmla="*/ 63833 h 135008"/>
                <a:gd name="connsiteX2" fmla="*/ 45806 w 81413"/>
                <a:gd name="connsiteY2" fmla="*/ 60272 h 135008"/>
                <a:gd name="connsiteX3" fmla="*/ 44471 w 81413"/>
                <a:gd name="connsiteY3" fmla="*/ 60272 h 135008"/>
                <a:gd name="connsiteX4" fmla="*/ 43396 w 81413"/>
                <a:gd name="connsiteY4" fmla="*/ 30118 h 135008"/>
                <a:gd name="connsiteX5" fmla="*/ 45102 w 81413"/>
                <a:gd name="connsiteY5" fmla="*/ 25815 h 135008"/>
                <a:gd name="connsiteX6" fmla="*/ 46771 w 81413"/>
                <a:gd name="connsiteY6" fmla="*/ 21513 h 135008"/>
                <a:gd name="connsiteX7" fmla="*/ 42914 w 81413"/>
                <a:gd name="connsiteY7" fmla="*/ 15615 h 135008"/>
                <a:gd name="connsiteX8" fmla="*/ 42431 w 81413"/>
                <a:gd name="connsiteY8" fmla="*/ 2040 h 135008"/>
                <a:gd name="connsiteX9" fmla="*/ 40317 w 81413"/>
                <a:gd name="connsiteY9" fmla="*/ 0 h 135008"/>
                <a:gd name="connsiteX10" fmla="*/ 38203 w 81413"/>
                <a:gd name="connsiteY10" fmla="*/ 2040 h 135008"/>
                <a:gd name="connsiteX11" fmla="*/ 37721 w 81413"/>
                <a:gd name="connsiteY11" fmla="*/ 15615 h 135008"/>
                <a:gd name="connsiteX12" fmla="*/ 33863 w 81413"/>
                <a:gd name="connsiteY12" fmla="*/ 21513 h 135008"/>
                <a:gd name="connsiteX13" fmla="*/ 35532 w 81413"/>
                <a:gd name="connsiteY13" fmla="*/ 25815 h 135008"/>
                <a:gd name="connsiteX14" fmla="*/ 37239 w 81413"/>
                <a:gd name="connsiteY14" fmla="*/ 30118 h 135008"/>
                <a:gd name="connsiteX15" fmla="*/ 36200 w 81413"/>
                <a:gd name="connsiteY15" fmla="*/ 60272 h 135008"/>
                <a:gd name="connsiteX16" fmla="*/ 35495 w 81413"/>
                <a:gd name="connsiteY16" fmla="*/ 60272 h 135008"/>
                <a:gd name="connsiteX17" fmla="*/ 31935 w 81413"/>
                <a:gd name="connsiteY17" fmla="*/ 63833 h 135008"/>
                <a:gd name="connsiteX18" fmla="*/ 27743 w 81413"/>
                <a:gd name="connsiteY18" fmla="*/ 69767 h 135008"/>
                <a:gd name="connsiteX19" fmla="*/ 0 w 81413"/>
                <a:gd name="connsiteY19" fmla="*/ 108378 h 135008"/>
                <a:gd name="connsiteX20" fmla="*/ 0 w 81413"/>
                <a:gd name="connsiteY20" fmla="*/ 135009 h 135008"/>
                <a:gd name="connsiteX21" fmla="*/ 81413 w 81413"/>
                <a:gd name="connsiteY21" fmla="*/ 135009 h 135008"/>
                <a:gd name="connsiteX22" fmla="*/ 81413 w 81413"/>
                <a:gd name="connsiteY22" fmla="*/ 108378 h 135008"/>
                <a:gd name="connsiteX23" fmla="*/ 53670 w 81413"/>
                <a:gd name="connsiteY23" fmla="*/ 69767 h 135008"/>
                <a:gd name="connsiteX24" fmla="*/ 49478 w 81413"/>
                <a:gd name="connsiteY24" fmla="*/ 63833 h 1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1413" h="135008">
                  <a:moveTo>
                    <a:pt x="49367" y="63833"/>
                  </a:moveTo>
                  <a:lnTo>
                    <a:pt x="49367" y="63833"/>
                  </a:lnTo>
                  <a:cubicBezTo>
                    <a:pt x="49367" y="61867"/>
                    <a:pt x="47772" y="60272"/>
                    <a:pt x="45806" y="60272"/>
                  </a:cubicBezTo>
                  <a:lnTo>
                    <a:pt x="44471" y="60272"/>
                  </a:lnTo>
                  <a:lnTo>
                    <a:pt x="43396" y="30118"/>
                  </a:lnTo>
                  <a:cubicBezTo>
                    <a:pt x="43359" y="28522"/>
                    <a:pt x="44026" y="27002"/>
                    <a:pt x="45102" y="25815"/>
                  </a:cubicBezTo>
                  <a:cubicBezTo>
                    <a:pt x="46140" y="24665"/>
                    <a:pt x="46771" y="23181"/>
                    <a:pt x="46771" y="21513"/>
                  </a:cubicBezTo>
                  <a:cubicBezTo>
                    <a:pt x="46771" y="18879"/>
                    <a:pt x="45176" y="16617"/>
                    <a:pt x="42914" y="15615"/>
                  </a:cubicBezTo>
                  <a:lnTo>
                    <a:pt x="42431" y="2040"/>
                  </a:lnTo>
                  <a:cubicBezTo>
                    <a:pt x="42394" y="890"/>
                    <a:pt x="41467" y="0"/>
                    <a:pt x="40317" y="0"/>
                  </a:cubicBezTo>
                  <a:cubicBezTo>
                    <a:pt x="39167" y="0"/>
                    <a:pt x="38240" y="890"/>
                    <a:pt x="38203" y="2040"/>
                  </a:cubicBezTo>
                  <a:lnTo>
                    <a:pt x="37721" y="15615"/>
                  </a:lnTo>
                  <a:cubicBezTo>
                    <a:pt x="35458" y="16617"/>
                    <a:pt x="33863" y="18879"/>
                    <a:pt x="33863" y="21513"/>
                  </a:cubicBezTo>
                  <a:cubicBezTo>
                    <a:pt x="33863" y="23181"/>
                    <a:pt x="34494" y="24665"/>
                    <a:pt x="35532" y="25815"/>
                  </a:cubicBezTo>
                  <a:cubicBezTo>
                    <a:pt x="36608" y="27002"/>
                    <a:pt x="37313" y="28486"/>
                    <a:pt x="37239" y="30118"/>
                  </a:cubicBezTo>
                  <a:lnTo>
                    <a:pt x="36200" y="60272"/>
                  </a:lnTo>
                  <a:lnTo>
                    <a:pt x="35495" y="60272"/>
                  </a:lnTo>
                  <a:cubicBezTo>
                    <a:pt x="33530" y="60272"/>
                    <a:pt x="31935" y="61867"/>
                    <a:pt x="31935" y="63833"/>
                  </a:cubicBezTo>
                  <a:cubicBezTo>
                    <a:pt x="31935" y="66503"/>
                    <a:pt x="30266" y="68914"/>
                    <a:pt x="27743" y="69767"/>
                  </a:cubicBezTo>
                  <a:cubicBezTo>
                    <a:pt x="11609" y="75182"/>
                    <a:pt x="0" y="90426"/>
                    <a:pt x="0" y="108378"/>
                  </a:cubicBezTo>
                  <a:lnTo>
                    <a:pt x="0" y="135009"/>
                  </a:lnTo>
                  <a:lnTo>
                    <a:pt x="81413" y="135009"/>
                  </a:lnTo>
                  <a:lnTo>
                    <a:pt x="81413" y="108378"/>
                  </a:lnTo>
                  <a:cubicBezTo>
                    <a:pt x="81413" y="90426"/>
                    <a:pt x="69804" y="75182"/>
                    <a:pt x="53670" y="69767"/>
                  </a:cubicBezTo>
                  <a:cubicBezTo>
                    <a:pt x="51147" y="68914"/>
                    <a:pt x="49478" y="66503"/>
                    <a:pt x="49478" y="63833"/>
                  </a:cubicBezTo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8BBFC855-CA61-0D2E-AD2A-BA6E6967867B}"/>
              </a:ext>
            </a:extLst>
          </p:cNvPr>
          <p:cNvSpPr/>
          <p:nvPr/>
        </p:nvSpPr>
        <p:spPr>
          <a:xfrm>
            <a:off x="8089585" y="4974412"/>
            <a:ext cx="271636" cy="874422"/>
          </a:xfrm>
          <a:custGeom>
            <a:avLst/>
            <a:gdLst>
              <a:gd name="connsiteX0" fmla="*/ 0 w 98697"/>
              <a:gd name="connsiteY0" fmla="*/ 0 h 317715"/>
              <a:gd name="connsiteX1" fmla="*/ 98697 w 98697"/>
              <a:gd name="connsiteY1" fmla="*/ 0 h 317715"/>
              <a:gd name="connsiteX2" fmla="*/ 98697 w 98697"/>
              <a:gd name="connsiteY2" fmla="*/ 317716 h 317715"/>
              <a:gd name="connsiteX3" fmla="*/ 0 w 98697"/>
              <a:gd name="connsiteY3" fmla="*/ 317716 h 31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697" h="317715">
                <a:moveTo>
                  <a:pt x="0" y="0"/>
                </a:moveTo>
                <a:lnTo>
                  <a:pt x="98697" y="0"/>
                </a:lnTo>
                <a:lnTo>
                  <a:pt x="98697" y="317716"/>
                </a:lnTo>
                <a:lnTo>
                  <a:pt x="0" y="317716"/>
                </a:lnTo>
                <a:close/>
              </a:path>
            </a:pathLst>
          </a:custGeom>
          <a:solidFill>
            <a:srgbClr val="FCEFB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94" name="Grafik 7">
            <a:extLst>
              <a:ext uri="{FF2B5EF4-FFF2-40B4-BE49-F238E27FC236}">
                <a16:creationId xmlns:a16="http://schemas.microsoft.com/office/drawing/2014/main" id="{B0EE3BF0-BD50-97C0-62DD-7D3EE65B5F61}"/>
              </a:ext>
            </a:extLst>
          </p:cNvPr>
          <p:cNvGrpSpPr/>
          <p:nvPr/>
        </p:nvGrpSpPr>
        <p:grpSpPr>
          <a:xfrm>
            <a:off x="8081110" y="4699408"/>
            <a:ext cx="289192" cy="961700"/>
            <a:chOff x="-1531521" y="5329697"/>
            <a:chExt cx="105076" cy="349427"/>
          </a:xfrm>
        </p:grpSpPr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6E784A0B-32E7-E44A-1461-6AE1DAC7F920}"/>
                </a:ext>
              </a:extLst>
            </p:cNvPr>
            <p:cNvSpPr/>
            <p:nvPr/>
          </p:nvSpPr>
          <p:spPr>
            <a:xfrm>
              <a:off x="-1486975" y="5329697"/>
              <a:ext cx="15800" cy="80448"/>
            </a:xfrm>
            <a:custGeom>
              <a:avLst/>
              <a:gdLst>
                <a:gd name="connsiteX0" fmla="*/ 7900 w 15800"/>
                <a:gd name="connsiteY0" fmla="*/ 0 h 80448"/>
                <a:gd name="connsiteX1" fmla="*/ 7900 w 15800"/>
                <a:gd name="connsiteY1" fmla="*/ 0 h 80448"/>
                <a:gd name="connsiteX2" fmla="*/ 0 w 15800"/>
                <a:gd name="connsiteY2" fmla="*/ 7900 h 80448"/>
                <a:gd name="connsiteX3" fmla="*/ 0 w 15800"/>
                <a:gd name="connsiteY3" fmla="*/ 80449 h 80448"/>
                <a:gd name="connsiteX4" fmla="*/ 15801 w 15800"/>
                <a:gd name="connsiteY4" fmla="*/ 80449 h 80448"/>
                <a:gd name="connsiteX5" fmla="*/ 15801 w 15800"/>
                <a:gd name="connsiteY5" fmla="*/ 7900 h 80448"/>
                <a:gd name="connsiteX6" fmla="*/ 7900 w 15800"/>
                <a:gd name="connsiteY6" fmla="*/ 0 h 8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0" h="80448">
                  <a:moveTo>
                    <a:pt x="7900" y="0"/>
                  </a:moveTo>
                  <a:lnTo>
                    <a:pt x="7900" y="0"/>
                  </a:lnTo>
                  <a:cubicBezTo>
                    <a:pt x="3524" y="0"/>
                    <a:pt x="0" y="3524"/>
                    <a:pt x="0" y="7900"/>
                  </a:cubicBezTo>
                  <a:lnTo>
                    <a:pt x="0" y="80449"/>
                  </a:lnTo>
                  <a:lnTo>
                    <a:pt x="15801" y="80449"/>
                  </a:lnTo>
                  <a:lnTo>
                    <a:pt x="15801" y="7900"/>
                  </a:lnTo>
                  <a:cubicBezTo>
                    <a:pt x="15801" y="3524"/>
                    <a:pt x="12277" y="0"/>
                    <a:pt x="7900" y="0"/>
                  </a:cubicBezTo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75318329-E81A-A9FD-D1F8-18D707130FDD}"/>
                </a:ext>
              </a:extLst>
            </p:cNvPr>
            <p:cNvSpPr/>
            <p:nvPr/>
          </p:nvSpPr>
          <p:spPr>
            <a:xfrm>
              <a:off x="-1519800" y="5329808"/>
              <a:ext cx="7158" cy="80374"/>
            </a:xfrm>
            <a:custGeom>
              <a:avLst/>
              <a:gdLst>
                <a:gd name="connsiteX0" fmla="*/ 0 w 7158"/>
                <a:gd name="connsiteY0" fmla="*/ 80375 h 80374"/>
                <a:gd name="connsiteX1" fmla="*/ 7158 w 7158"/>
                <a:gd name="connsiteY1" fmla="*/ 80375 h 80374"/>
                <a:gd name="connsiteX2" fmla="*/ 7158 w 7158"/>
                <a:gd name="connsiteY2" fmla="*/ 7826 h 80374"/>
                <a:gd name="connsiteX3" fmla="*/ 0 w 7158"/>
                <a:gd name="connsiteY3" fmla="*/ 0 h 80374"/>
                <a:gd name="connsiteX4" fmla="*/ 0 w 7158"/>
                <a:gd name="connsiteY4" fmla="*/ 80375 h 8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8" h="80374">
                  <a:moveTo>
                    <a:pt x="0" y="80375"/>
                  </a:moveTo>
                  <a:lnTo>
                    <a:pt x="7158" y="80375"/>
                  </a:lnTo>
                  <a:lnTo>
                    <a:pt x="7158" y="7826"/>
                  </a:lnTo>
                  <a:cubicBezTo>
                    <a:pt x="7158" y="3709"/>
                    <a:pt x="4006" y="371"/>
                    <a:pt x="0" y="0"/>
                  </a:cubicBezTo>
                  <a:lnTo>
                    <a:pt x="0" y="80375"/>
                  </a:lnTo>
                  <a:close/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F2FCE488-300C-A53F-BBED-71565D086BB1}"/>
                </a:ext>
              </a:extLst>
            </p:cNvPr>
            <p:cNvSpPr/>
            <p:nvPr/>
          </p:nvSpPr>
          <p:spPr>
            <a:xfrm>
              <a:off x="-1445545" y="5329771"/>
              <a:ext cx="7158" cy="80374"/>
            </a:xfrm>
            <a:custGeom>
              <a:avLst/>
              <a:gdLst>
                <a:gd name="connsiteX0" fmla="*/ 7159 w 7158"/>
                <a:gd name="connsiteY0" fmla="*/ 0 h 80374"/>
                <a:gd name="connsiteX1" fmla="*/ 0 w 7158"/>
                <a:gd name="connsiteY1" fmla="*/ 7826 h 80374"/>
                <a:gd name="connsiteX2" fmla="*/ 0 w 7158"/>
                <a:gd name="connsiteY2" fmla="*/ 80375 h 80374"/>
                <a:gd name="connsiteX3" fmla="*/ 7159 w 7158"/>
                <a:gd name="connsiteY3" fmla="*/ 80375 h 80374"/>
                <a:gd name="connsiteX4" fmla="*/ 7159 w 7158"/>
                <a:gd name="connsiteY4" fmla="*/ 0 h 8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8" h="80374">
                  <a:moveTo>
                    <a:pt x="7159" y="0"/>
                  </a:moveTo>
                  <a:cubicBezTo>
                    <a:pt x="3153" y="371"/>
                    <a:pt x="0" y="3709"/>
                    <a:pt x="0" y="7826"/>
                  </a:cubicBezTo>
                  <a:lnTo>
                    <a:pt x="0" y="80375"/>
                  </a:lnTo>
                  <a:lnTo>
                    <a:pt x="7159" y="80375"/>
                  </a:lnTo>
                  <a:lnTo>
                    <a:pt x="7159" y="0"/>
                  </a:lnTo>
                  <a:close/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831BF0EC-73D6-E56D-792F-137524E7E96C}"/>
                </a:ext>
              </a:extLst>
            </p:cNvPr>
            <p:cNvSpPr/>
            <p:nvPr/>
          </p:nvSpPr>
          <p:spPr>
            <a:xfrm>
              <a:off x="-1531521" y="5426725"/>
              <a:ext cx="105076" cy="7677"/>
            </a:xfrm>
            <a:custGeom>
              <a:avLst/>
              <a:gdLst>
                <a:gd name="connsiteX0" fmla="*/ 103185 w 105076"/>
                <a:gd name="connsiteY0" fmla="*/ 0 h 7677"/>
                <a:gd name="connsiteX1" fmla="*/ 1891 w 105076"/>
                <a:gd name="connsiteY1" fmla="*/ 0 h 7677"/>
                <a:gd name="connsiteX2" fmla="*/ 0 w 105076"/>
                <a:gd name="connsiteY2" fmla="*/ 1892 h 7677"/>
                <a:gd name="connsiteX3" fmla="*/ 0 w 105076"/>
                <a:gd name="connsiteY3" fmla="*/ 5786 h 7677"/>
                <a:gd name="connsiteX4" fmla="*/ 1891 w 105076"/>
                <a:gd name="connsiteY4" fmla="*/ 7678 h 7677"/>
                <a:gd name="connsiteX5" fmla="*/ 103185 w 105076"/>
                <a:gd name="connsiteY5" fmla="*/ 7678 h 7677"/>
                <a:gd name="connsiteX6" fmla="*/ 105077 w 105076"/>
                <a:gd name="connsiteY6" fmla="*/ 5786 h 7677"/>
                <a:gd name="connsiteX7" fmla="*/ 105077 w 105076"/>
                <a:gd name="connsiteY7" fmla="*/ 1892 h 7677"/>
                <a:gd name="connsiteX8" fmla="*/ 103185 w 105076"/>
                <a:gd name="connsiteY8" fmla="*/ 0 h 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76" h="7677">
                  <a:moveTo>
                    <a:pt x="103185" y="0"/>
                  </a:moveTo>
                  <a:lnTo>
                    <a:pt x="1891" y="0"/>
                  </a:lnTo>
                  <a:cubicBezTo>
                    <a:pt x="853" y="0"/>
                    <a:pt x="0" y="853"/>
                    <a:pt x="0" y="1892"/>
                  </a:cubicBezTo>
                  <a:lnTo>
                    <a:pt x="0" y="5786"/>
                  </a:lnTo>
                  <a:cubicBezTo>
                    <a:pt x="0" y="6825"/>
                    <a:pt x="853" y="7678"/>
                    <a:pt x="1891" y="7678"/>
                  </a:cubicBezTo>
                  <a:lnTo>
                    <a:pt x="103185" y="7678"/>
                  </a:lnTo>
                  <a:cubicBezTo>
                    <a:pt x="104224" y="7678"/>
                    <a:pt x="105077" y="6825"/>
                    <a:pt x="105077" y="5786"/>
                  </a:cubicBezTo>
                  <a:lnTo>
                    <a:pt x="105077" y="1892"/>
                  </a:lnTo>
                  <a:cubicBezTo>
                    <a:pt x="105077" y="853"/>
                    <a:pt x="104224" y="0"/>
                    <a:pt x="103185" y="0"/>
                  </a:cubicBezTo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67CBB036-4250-A085-8661-5A0EE7E55976}"/>
                </a:ext>
              </a:extLst>
            </p:cNvPr>
            <p:cNvSpPr/>
            <p:nvPr/>
          </p:nvSpPr>
          <p:spPr>
            <a:xfrm>
              <a:off x="-1489460" y="5490483"/>
              <a:ext cx="20696" cy="20659"/>
            </a:xfrm>
            <a:custGeom>
              <a:avLst/>
              <a:gdLst>
                <a:gd name="connsiteX0" fmla="*/ 20696 w 20696"/>
                <a:gd name="connsiteY0" fmla="*/ 10311 h 20659"/>
                <a:gd name="connsiteX1" fmla="*/ 10348 w 20696"/>
                <a:gd name="connsiteY1" fmla="*/ 20659 h 20659"/>
                <a:gd name="connsiteX2" fmla="*/ 0 w 20696"/>
                <a:gd name="connsiteY2" fmla="*/ 10311 h 20659"/>
                <a:gd name="connsiteX3" fmla="*/ 10348 w 20696"/>
                <a:gd name="connsiteY3" fmla="*/ 0 h 20659"/>
                <a:gd name="connsiteX4" fmla="*/ 20696 w 20696"/>
                <a:gd name="connsiteY4" fmla="*/ 10311 h 2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6" h="20659">
                  <a:moveTo>
                    <a:pt x="20696" y="10311"/>
                  </a:moveTo>
                  <a:cubicBezTo>
                    <a:pt x="20696" y="16023"/>
                    <a:pt x="16060" y="20659"/>
                    <a:pt x="10348" y="20659"/>
                  </a:cubicBezTo>
                  <a:cubicBezTo>
                    <a:pt x="4636" y="20659"/>
                    <a:pt x="0" y="16023"/>
                    <a:pt x="0" y="10311"/>
                  </a:cubicBezTo>
                  <a:cubicBezTo>
                    <a:pt x="0" y="4599"/>
                    <a:pt x="4636" y="0"/>
                    <a:pt x="10348" y="0"/>
                  </a:cubicBezTo>
                  <a:cubicBezTo>
                    <a:pt x="16060" y="0"/>
                    <a:pt x="20696" y="4636"/>
                    <a:pt x="20696" y="10311"/>
                  </a:cubicBezTo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3132E0A6-7360-F6ED-1A3D-E5BA9C11B191}"/>
                </a:ext>
              </a:extLst>
            </p:cNvPr>
            <p:cNvSpPr/>
            <p:nvPr/>
          </p:nvSpPr>
          <p:spPr>
            <a:xfrm>
              <a:off x="-1487606" y="5597230"/>
              <a:ext cx="16987" cy="81895"/>
            </a:xfrm>
            <a:custGeom>
              <a:avLst/>
              <a:gdLst>
                <a:gd name="connsiteX0" fmla="*/ 16987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7 w 16987"/>
                <a:gd name="connsiteY4" fmla="*/ 8494 h 81895"/>
                <a:gd name="connsiteX5" fmla="*/ 16987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7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7" y="3783"/>
                    <a:pt x="16987" y="8494"/>
                  </a:cubicBezTo>
                  <a:lnTo>
                    <a:pt x="16987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101" name="Freihandform: Form 100">
            <a:extLst>
              <a:ext uri="{FF2B5EF4-FFF2-40B4-BE49-F238E27FC236}">
                <a16:creationId xmlns:a16="http://schemas.microsoft.com/office/drawing/2014/main" id="{FEBC3A31-CD71-639F-AFAE-45D79711C41F}"/>
              </a:ext>
            </a:extLst>
          </p:cNvPr>
          <p:cNvSpPr/>
          <p:nvPr/>
        </p:nvSpPr>
        <p:spPr>
          <a:xfrm>
            <a:off x="8108674" y="4613864"/>
            <a:ext cx="233969" cy="21231"/>
          </a:xfrm>
          <a:custGeom>
            <a:avLst/>
            <a:gdLst>
              <a:gd name="connsiteX0" fmla="*/ 0 w 85011"/>
              <a:gd name="connsiteY0" fmla="*/ 0 h 7714"/>
              <a:gd name="connsiteX1" fmla="*/ 85011 w 85011"/>
              <a:gd name="connsiteY1" fmla="*/ 0 h 7714"/>
              <a:gd name="connsiteX2" fmla="*/ 85011 w 85011"/>
              <a:gd name="connsiteY2" fmla="*/ 7715 h 7714"/>
              <a:gd name="connsiteX3" fmla="*/ 0 w 85011"/>
              <a:gd name="connsiteY3" fmla="*/ 7715 h 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011" h="7714">
                <a:moveTo>
                  <a:pt x="0" y="0"/>
                </a:moveTo>
                <a:lnTo>
                  <a:pt x="85011" y="0"/>
                </a:lnTo>
                <a:lnTo>
                  <a:pt x="85011" y="7715"/>
                </a:lnTo>
                <a:lnTo>
                  <a:pt x="0" y="7715"/>
                </a:lnTo>
                <a:close/>
              </a:path>
            </a:pathLst>
          </a:custGeom>
          <a:solidFill>
            <a:srgbClr val="00185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02" name="Freihandform: Form 101">
            <a:extLst>
              <a:ext uri="{FF2B5EF4-FFF2-40B4-BE49-F238E27FC236}">
                <a16:creationId xmlns:a16="http://schemas.microsoft.com/office/drawing/2014/main" id="{C15EE070-B5FA-4A75-323D-119C1843FF10}"/>
              </a:ext>
            </a:extLst>
          </p:cNvPr>
          <p:cNvSpPr/>
          <p:nvPr/>
        </p:nvSpPr>
        <p:spPr>
          <a:xfrm>
            <a:off x="8215845" y="5651822"/>
            <a:ext cx="91360" cy="26234"/>
          </a:xfrm>
          <a:custGeom>
            <a:avLst/>
            <a:gdLst>
              <a:gd name="connsiteX0" fmla="*/ 33159 w 33195"/>
              <a:gd name="connsiteY0" fmla="*/ 9532 h 9532"/>
              <a:gd name="connsiteX1" fmla="*/ 0 w 33195"/>
              <a:gd name="connsiteY1" fmla="*/ 9532 h 9532"/>
              <a:gd name="connsiteX2" fmla="*/ 0 w 33195"/>
              <a:gd name="connsiteY2" fmla="*/ 4228 h 9532"/>
              <a:gd name="connsiteX3" fmla="*/ 4228 w 33195"/>
              <a:gd name="connsiteY3" fmla="*/ 0 h 9532"/>
              <a:gd name="connsiteX4" fmla="*/ 28968 w 33195"/>
              <a:gd name="connsiteY4" fmla="*/ 0 h 9532"/>
              <a:gd name="connsiteX5" fmla="*/ 33196 w 33195"/>
              <a:gd name="connsiteY5" fmla="*/ 4228 h 9532"/>
              <a:gd name="connsiteX6" fmla="*/ 33196 w 33195"/>
              <a:gd name="connsiteY6" fmla="*/ 9532 h 9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195" h="9532">
                <a:moveTo>
                  <a:pt x="33159" y="9532"/>
                </a:moveTo>
                <a:lnTo>
                  <a:pt x="0" y="9532"/>
                </a:lnTo>
                <a:lnTo>
                  <a:pt x="0" y="4228"/>
                </a:lnTo>
                <a:cubicBezTo>
                  <a:pt x="0" y="1892"/>
                  <a:pt x="1892" y="0"/>
                  <a:pt x="4228" y="0"/>
                </a:cubicBezTo>
                <a:lnTo>
                  <a:pt x="28968" y="0"/>
                </a:lnTo>
                <a:cubicBezTo>
                  <a:pt x="31304" y="0"/>
                  <a:pt x="33196" y="1892"/>
                  <a:pt x="33196" y="4228"/>
                </a:cubicBezTo>
                <a:lnTo>
                  <a:pt x="33196" y="9532"/>
                </a:lnTo>
                <a:close/>
              </a:path>
            </a:pathLst>
          </a:custGeom>
          <a:solidFill>
            <a:srgbClr val="FEFEF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120" name="Grafik 7">
            <a:extLst>
              <a:ext uri="{FF2B5EF4-FFF2-40B4-BE49-F238E27FC236}">
                <a16:creationId xmlns:a16="http://schemas.microsoft.com/office/drawing/2014/main" id="{620532BA-64E0-F5D3-9879-E44D4C682663}"/>
              </a:ext>
            </a:extLst>
          </p:cNvPr>
          <p:cNvGrpSpPr/>
          <p:nvPr/>
        </p:nvGrpSpPr>
        <p:grpSpPr>
          <a:xfrm>
            <a:off x="6435556" y="5552701"/>
            <a:ext cx="3092227" cy="386068"/>
            <a:chOff x="-2262571" y="5639735"/>
            <a:chExt cx="1123539" cy="140275"/>
          </a:xfrm>
        </p:grpSpPr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A0AC7925-98FC-6000-6FA3-C3D648F0BB9A}"/>
                </a:ext>
              </a:extLst>
            </p:cNvPr>
            <p:cNvSpPr/>
            <p:nvPr/>
          </p:nvSpPr>
          <p:spPr>
            <a:xfrm>
              <a:off x="-2262571" y="5675267"/>
              <a:ext cx="709723" cy="104743"/>
            </a:xfrm>
            <a:custGeom>
              <a:avLst/>
              <a:gdLst>
                <a:gd name="connsiteX0" fmla="*/ 565108 w 709723"/>
                <a:gd name="connsiteY0" fmla="*/ 1 h 104743"/>
                <a:gd name="connsiteX1" fmla="*/ 0 w 709723"/>
                <a:gd name="connsiteY1" fmla="*/ 1484 h 104743"/>
                <a:gd name="connsiteX2" fmla="*/ 0 w 709723"/>
                <a:gd name="connsiteY2" fmla="*/ 104744 h 104743"/>
                <a:gd name="connsiteX3" fmla="*/ 709723 w 709723"/>
                <a:gd name="connsiteY3" fmla="*/ 104744 h 104743"/>
                <a:gd name="connsiteX4" fmla="*/ 689880 w 709723"/>
                <a:gd name="connsiteY4" fmla="*/ 71066 h 104743"/>
                <a:gd name="connsiteX5" fmla="*/ 565145 w 709723"/>
                <a:gd name="connsiteY5" fmla="*/ 1 h 104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723" h="104743">
                  <a:moveTo>
                    <a:pt x="565108" y="1"/>
                  </a:moveTo>
                  <a:lnTo>
                    <a:pt x="0" y="1484"/>
                  </a:lnTo>
                  <a:lnTo>
                    <a:pt x="0" y="104744"/>
                  </a:lnTo>
                  <a:lnTo>
                    <a:pt x="709723" y="104744"/>
                  </a:lnTo>
                  <a:lnTo>
                    <a:pt x="689880" y="71066"/>
                  </a:lnTo>
                  <a:cubicBezTo>
                    <a:pt x="663880" y="26928"/>
                    <a:pt x="616367" y="-148"/>
                    <a:pt x="565145" y="1"/>
                  </a:cubicBezTo>
                </a:path>
              </a:pathLst>
            </a:custGeom>
            <a:solidFill>
              <a:srgbClr val="70A6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14836756-314D-D8CA-F271-96CC6A725444}"/>
                </a:ext>
              </a:extLst>
            </p:cNvPr>
            <p:cNvSpPr/>
            <p:nvPr/>
          </p:nvSpPr>
          <p:spPr>
            <a:xfrm>
              <a:off x="-2036612" y="5639735"/>
              <a:ext cx="255552" cy="140015"/>
            </a:xfrm>
            <a:custGeom>
              <a:avLst/>
              <a:gdLst>
                <a:gd name="connsiteX0" fmla="*/ 254959 w 255552"/>
                <a:gd name="connsiteY0" fmla="*/ 140016 h 140015"/>
                <a:gd name="connsiteX1" fmla="*/ 255552 w 255552"/>
                <a:gd name="connsiteY1" fmla="*/ 127776 h 140015"/>
                <a:gd name="connsiteX2" fmla="*/ 127776 w 255552"/>
                <a:gd name="connsiteY2" fmla="*/ 0 h 140015"/>
                <a:gd name="connsiteX3" fmla="*/ 0 w 255552"/>
                <a:gd name="connsiteY3" fmla="*/ 127776 h 140015"/>
                <a:gd name="connsiteX4" fmla="*/ 593 w 255552"/>
                <a:gd name="connsiteY4" fmla="*/ 140016 h 140015"/>
                <a:gd name="connsiteX5" fmla="*/ 254922 w 255552"/>
                <a:gd name="connsiteY5" fmla="*/ 140016 h 14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552" h="140015">
                  <a:moveTo>
                    <a:pt x="254959" y="140016"/>
                  </a:moveTo>
                  <a:cubicBezTo>
                    <a:pt x="255330" y="135973"/>
                    <a:pt x="255552" y="131893"/>
                    <a:pt x="255552" y="127776"/>
                  </a:cubicBezTo>
                  <a:cubicBezTo>
                    <a:pt x="255552" y="57231"/>
                    <a:pt x="198359" y="0"/>
                    <a:pt x="127776" y="0"/>
                  </a:cubicBezTo>
                  <a:cubicBezTo>
                    <a:pt x="57193" y="0"/>
                    <a:pt x="0" y="57193"/>
                    <a:pt x="0" y="127776"/>
                  </a:cubicBezTo>
                  <a:cubicBezTo>
                    <a:pt x="0" y="131893"/>
                    <a:pt x="223" y="135973"/>
                    <a:pt x="593" y="140016"/>
                  </a:cubicBezTo>
                  <a:lnTo>
                    <a:pt x="254922" y="140016"/>
                  </a:lnTo>
                  <a:close/>
                </a:path>
              </a:pathLst>
            </a:custGeom>
            <a:solidFill>
              <a:srgbClr val="53832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EE12A8C0-95D3-5507-8382-6AE89EE9BAEC}"/>
                </a:ext>
              </a:extLst>
            </p:cNvPr>
            <p:cNvSpPr/>
            <p:nvPr/>
          </p:nvSpPr>
          <p:spPr>
            <a:xfrm>
              <a:off x="-2086498" y="5684874"/>
              <a:ext cx="249543" cy="94876"/>
            </a:xfrm>
            <a:custGeom>
              <a:avLst/>
              <a:gdLst>
                <a:gd name="connsiteX0" fmla="*/ 249544 w 249543"/>
                <a:gd name="connsiteY0" fmla="*/ 94877 h 94876"/>
                <a:gd name="connsiteX1" fmla="*/ 124772 w 249543"/>
                <a:gd name="connsiteY1" fmla="*/ 0 h 94876"/>
                <a:gd name="connsiteX2" fmla="*/ 0 w 249543"/>
                <a:gd name="connsiteY2" fmla="*/ 94877 h 94876"/>
                <a:gd name="connsiteX3" fmla="*/ 249544 w 249543"/>
                <a:gd name="connsiteY3" fmla="*/ 94877 h 94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43" h="94876">
                  <a:moveTo>
                    <a:pt x="249544" y="94877"/>
                  </a:moveTo>
                  <a:cubicBezTo>
                    <a:pt x="234411" y="40169"/>
                    <a:pt x="184302" y="0"/>
                    <a:pt x="124772" y="0"/>
                  </a:cubicBezTo>
                  <a:cubicBezTo>
                    <a:pt x="65242" y="0"/>
                    <a:pt x="15133" y="40169"/>
                    <a:pt x="0" y="94877"/>
                  </a:cubicBezTo>
                  <a:lnTo>
                    <a:pt x="249544" y="94877"/>
                  </a:lnTo>
                  <a:close/>
                </a:path>
              </a:pathLst>
            </a:custGeom>
            <a:solidFill>
              <a:srgbClr val="9FCE6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02EBC647-7C88-7DF0-3F67-7A901B26F710}"/>
                </a:ext>
              </a:extLst>
            </p:cNvPr>
            <p:cNvSpPr/>
            <p:nvPr/>
          </p:nvSpPr>
          <p:spPr>
            <a:xfrm>
              <a:off x="-1657702" y="5746555"/>
              <a:ext cx="518670" cy="33455"/>
            </a:xfrm>
            <a:custGeom>
              <a:avLst/>
              <a:gdLst>
                <a:gd name="connsiteX0" fmla="*/ 518597 w 518670"/>
                <a:gd name="connsiteY0" fmla="*/ 32936 h 33455"/>
                <a:gd name="connsiteX1" fmla="*/ 0 w 518670"/>
                <a:gd name="connsiteY1" fmla="*/ 33456 h 33455"/>
                <a:gd name="connsiteX2" fmla="*/ 13464 w 518670"/>
                <a:gd name="connsiteY2" fmla="*/ 18397 h 33455"/>
                <a:gd name="connsiteX3" fmla="*/ 54597 w 518670"/>
                <a:gd name="connsiteY3" fmla="*/ 0 h 33455"/>
                <a:gd name="connsiteX4" fmla="*/ 464074 w 518670"/>
                <a:gd name="connsiteY4" fmla="*/ 0 h 33455"/>
                <a:gd name="connsiteX5" fmla="*/ 505207 w 518670"/>
                <a:gd name="connsiteY5" fmla="*/ 18397 h 33455"/>
                <a:gd name="connsiteX6" fmla="*/ 518671 w 518670"/>
                <a:gd name="connsiteY6" fmla="*/ 32936 h 3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8670" h="33455">
                  <a:moveTo>
                    <a:pt x="518597" y="32936"/>
                  </a:moveTo>
                  <a:lnTo>
                    <a:pt x="0" y="33456"/>
                  </a:lnTo>
                  <a:lnTo>
                    <a:pt x="13464" y="18397"/>
                  </a:lnTo>
                  <a:cubicBezTo>
                    <a:pt x="23923" y="6676"/>
                    <a:pt x="38871" y="0"/>
                    <a:pt x="54597" y="0"/>
                  </a:cubicBezTo>
                  <a:lnTo>
                    <a:pt x="464074" y="0"/>
                  </a:lnTo>
                  <a:cubicBezTo>
                    <a:pt x="479763" y="0"/>
                    <a:pt x="494748" y="6713"/>
                    <a:pt x="505207" y="18397"/>
                  </a:cubicBezTo>
                  <a:lnTo>
                    <a:pt x="518671" y="32936"/>
                  </a:lnTo>
                  <a:close/>
                </a:path>
              </a:pathLst>
            </a:custGeom>
            <a:solidFill>
              <a:srgbClr val="9FCE6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125" name="Freihandform: Form 124">
            <a:extLst>
              <a:ext uri="{FF2B5EF4-FFF2-40B4-BE49-F238E27FC236}">
                <a16:creationId xmlns:a16="http://schemas.microsoft.com/office/drawing/2014/main" id="{C57270AF-981B-85A9-F885-F8EF6FE81D76}"/>
              </a:ext>
            </a:extLst>
          </p:cNvPr>
          <p:cNvSpPr/>
          <p:nvPr/>
        </p:nvSpPr>
        <p:spPr>
          <a:xfrm flipH="1">
            <a:off x="10996336" y="4455533"/>
            <a:ext cx="750694" cy="1376623"/>
          </a:xfrm>
          <a:custGeom>
            <a:avLst/>
            <a:gdLst>
              <a:gd name="connsiteX0" fmla="*/ 48069 w 144170"/>
              <a:gd name="connsiteY0" fmla="*/ 0 h 264379"/>
              <a:gd name="connsiteX1" fmla="*/ 96101 w 144170"/>
              <a:gd name="connsiteY1" fmla="*/ 0 h 264379"/>
              <a:gd name="connsiteX2" fmla="*/ 144170 w 144170"/>
              <a:gd name="connsiteY2" fmla="*/ 264380 h 264379"/>
              <a:gd name="connsiteX3" fmla="*/ 0 w 144170"/>
              <a:gd name="connsiteY3" fmla="*/ 264306 h 264379"/>
              <a:gd name="connsiteX4" fmla="*/ 48069 w 144170"/>
              <a:gd name="connsiteY4" fmla="*/ 0 h 26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170" h="264379">
                <a:moveTo>
                  <a:pt x="48069" y="0"/>
                </a:moveTo>
                <a:lnTo>
                  <a:pt x="96101" y="0"/>
                </a:lnTo>
                <a:lnTo>
                  <a:pt x="144170" y="264380"/>
                </a:lnTo>
                <a:lnTo>
                  <a:pt x="0" y="264306"/>
                </a:lnTo>
                <a:lnTo>
                  <a:pt x="48069" y="0"/>
                </a:lnTo>
                <a:close/>
              </a:path>
            </a:pathLst>
          </a:custGeom>
          <a:solidFill>
            <a:srgbClr val="D1D1D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26" name="Freihandform: Form 125">
            <a:extLst>
              <a:ext uri="{FF2B5EF4-FFF2-40B4-BE49-F238E27FC236}">
                <a16:creationId xmlns:a16="http://schemas.microsoft.com/office/drawing/2014/main" id="{37982AD0-317C-AC45-6C5B-17F7810B5FA5}"/>
              </a:ext>
            </a:extLst>
          </p:cNvPr>
          <p:cNvSpPr/>
          <p:nvPr/>
        </p:nvSpPr>
        <p:spPr>
          <a:xfrm flipH="1">
            <a:off x="11398430" y="5331372"/>
            <a:ext cx="348599" cy="500399"/>
          </a:xfrm>
          <a:custGeom>
            <a:avLst/>
            <a:gdLst>
              <a:gd name="connsiteX0" fmla="*/ 0 w 66948"/>
              <a:gd name="connsiteY0" fmla="*/ 0 h 96101"/>
              <a:gd name="connsiteX1" fmla="*/ 66948 w 66948"/>
              <a:gd name="connsiteY1" fmla="*/ 0 h 96101"/>
              <a:gd name="connsiteX2" fmla="*/ 66948 w 66948"/>
              <a:gd name="connsiteY2" fmla="*/ 96101 h 96101"/>
              <a:gd name="connsiteX3" fmla="*/ 0 w 66948"/>
              <a:gd name="connsiteY3" fmla="*/ 96101 h 96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48" h="96101">
                <a:moveTo>
                  <a:pt x="0" y="0"/>
                </a:moveTo>
                <a:lnTo>
                  <a:pt x="66948" y="0"/>
                </a:lnTo>
                <a:lnTo>
                  <a:pt x="66948" y="96101"/>
                </a:lnTo>
                <a:lnTo>
                  <a:pt x="0" y="96101"/>
                </a:lnTo>
                <a:close/>
              </a:path>
            </a:pathLst>
          </a:custGeom>
          <a:solidFill>
            <a:srgbClr val="1195E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27" name="Freihandform: Form 126">
            <a:extLst>
              <a:ext uri="{FF2B5EF4-FFF2-40B4-BE49-F238E27FC236}">
                <a16:creationId xmlns:a16="http://schemas.microsoft.com/office/drawing/2014/main" id="{99BD1354-A307-AD32-F5A0-2E882035C342}"/>
              </a:ext>
            </a:extLst>
          </p:cNvPr>
          <p:cNvSpPr/>
          <p:nvPr/>
        </p:nvSpPr>
        <p:spPr>
          <a:xfrm flipH="1">
            <a:off x="10996336" y="5831771"/>
            <a:ext cx="1195664" cy="124760"/>
          </a:xfrm>
          <a:custGeom>
            <a:avLst/>
            <a:gdLst>
              <a:gd name="connsiteX0" fmla="*/ 0 w 229626"/>
              <a:gd name="connsiteY0" fmla="*/ 0 h 23960"/>
              <a:gd name="connsiteX1" fmla="*/ 229626 w 229626"/>
              <a:gd name="connsiteY1" fmla="*/ 0 h 23960"/>
              <a:gd name="connsiteX2" fmla="*/ 229626 w 229626"/>
              <a:gd name="connsiteY2" fmla="*/ 23961 h 23960"/>
              <a:gd name="connsiteX3" fmla="*/ 0 w 229626"/>
              <a:gd name="connsiteY3" fmla="*/ 23961 h 23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626" h="23960">
                <a:moveTo>
                  <a:pt x="0" y="0"/>
                </a:moveTo>
                <a:lnTo>
                  <a:pt x="229626" y="0"/>
                </a:lnTo>
                <a:lnTo>
                  <a:pt x="229626" y="23961"/>
                </a:lnTo>
                <a:lnTo>
                  <a:pt x="0" y="23961"/>
                </a:lnTo>
                <a:close/>
              </a:path>
            </a:pathLst>
          </a:custGeom>
          <a:solidFill>
            <a:srgbClr val="AAAAA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28" name="Freihandform: Form 127">
            <a:extLst>
              <a:ext uri="{FF2B5EF4-FFF2-40B4-BE49-F238E27FC236}">
                <a16:creationId xmlns:a16="http://schemas.microsoft.com/office/drawing/2014/main" id="{285389BE-B834-38DA-D8B9-5A1CC188D97C}"/>
              </a:ext>
            </a:extLst>
          </p:cNvPr>
          <p:cNvSpPr/>
          <p:nvPr/>
        </p:nvSpPr>
        <p:spPr>
          <a:xfrm flipH="1">
            <a:off x="11747030" y="4955739"/>
            <a:ext cx="444969" cy="876032"/>
          </a:xfrm>
          <a:custGeom>
            <a:avLst/>
            <a:gdLst>
              <a:gd name="connsiteX0" fmla="*/ 13390 w 85456"/>
              <a:gd name="connsiteY0" fmla="*/ 24035 h 168241"/>
              <a:gd name="connsiteX1" fmla="*/ 13390 w 85456"/>
              <a:gd name="connsiteY1" fmla="*/ 0 h 168241"/>
              <a:gd name="connsiteX2" fmla="*/ 0 w 85456"/>
              <a:gd name="connsiteY2" fmla="*/ 4451 h 168241"/>
              <a:gd name="connsiteX3" fmla="*/ 0 w 85456"/>
              <a:gd name="connsiteY3" fmla="*/ 168242 h 168241"/>
              <a:gd name="connsiteX4" fmla="*/ 85456 w 85456"/>
              <a:gd name="connsiteY4" fmla="*/ 168242 h 168241"/>
              <a:gd name="connsiteX5" fmla="*/ 85456 w 85456"/>
              <a:gd name="connsiteY5" fmla="*/ 0 h 168241"/>
              <a:gd name="connsiteX6" fmla="*/ 13390 w 85456"/>
              <a:gd name="connsiteY6" fmla="*/ 24035 h 168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456" h="168241">
                <a:moveTo>
                  <a:pt x="13390" y="24035"/>
                </a:moveTo>
                <a:lnTo>
                  <a:pt x="13390" y="0"/>
                </a:lnTo>
                <a:lnTo>
                  <a:pt x="0" y="4451"/>
                </a:lnTo>
                <a:lnTo>
                  <a:pt x="0" y="168242"/>
                </a:lnTo>
                <a:lnTo>
                  <a:pt x="85456" y="168242"/>
                </a:lnTo>
                <a:lnTo>
                  <a:pt x="85456" y="0"/>
                </a:lnTo>
                <a:lnTo>
                  <a:pt x="13390" y="24035"/>
                </a:lnTo>
                <a:close/>
              </a:path>
            </a:pathLst>
          </a:custGeom>
          <a:solidFill>
            <a:srgbClr val="1195E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29" name="Freihandform: Form 128">
            <a:extLst>
              <a:ext uri="{FF2B5EF4-FFF2-40B4-BE49-F238E27FC236}">
                <a16:creationId xmlns:a16="http://schemas.microsoft.com/office/drawing/2014/main" id="{AFCBDB7A-DF14-E8E8-C3CC-8239993F75F3}"/>
              </a:ext>
            </a:extLst>
          </p:cNvPr>
          <p:cNvSpPr/>
          <p:nvPr/>
        </p:nvSpPr>
        <p:spPr>
          <a:xfrm flipH="1">
            <a:off x="12122476" y="4955739"/>
            <a:ext cx="69524" cy="148322"/>
          </a:xfrm>
          <a:custGeom>
            <a:avLst/>
            <a:gdLst>
              <a:gd name="connsiteX0" fmla="*/ 0 w 13352"/>
              <a:gd name="connsiteY0" fmla="*/ 4451 h 28485"/>
              <a:gd name="connsiteX1" fmla="*/ 0 w 13352"/>
              <a:gd name="connsiteY1" fmla="*/ 28485 h 28485"/>
              <a:gd name="connsiteX2" fmla="*/ 13352 w 13352"/>
              <a:gd name="connsiteY2" fmla="*/ 24035 h 28485"/>
              <a:gd name="connsiteX3" fmla="*/ 13352 w 13352"/>
              <a:gd name="connsiteY3" fmla="*/ 0 h 28485"/>
              <a:gd name="connsiteX4" fmla="*/ 0 w 13352"/>
              <a:gd name="connsiteY4" fmla="*/ 4451 h 28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52" h="28485">
                <a:moveTo>
                  <a:pt x="0" y="4451"/>
                </a:moveTo>
                <a:lnTo>
                  <a:pt x="0" y="28485"/>
                </a:lnTo>
                <a:lnTo>
                  <a:pt x="13352" y="24035"/>
                </a:lnTo>
                <a:lnTo>
                  <a:pt x="13352" y="0"/>
                </a:lnTo>
                <a:lnTo>
                  <a:pt x="0" y="4451"/>
                </a:lnTo>
                <a:close/>
              </a:path>
            </a:pathLst>
          </a:custGeom>
          <a:solidFill>
            <a:srgbClr val="FDD3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30" name="Freihandform: Form 129">
            <a:extLst>
              <a:ext uri="{FF2B5EF4-FFF2-40B4-BE49-F238E27FC236}">
                <a16:creationId xmlns:a16="http://schemas.microsoft.com/office/drawing/2014/main" id="{5804D5FF-873A-3A19-A78F-82F51AD66361}"/>
              </a:ext>
            </a:extLst>
          </p:cNvPr>
          <p:cNvSpPr/>
          <p:nvPr/>
        </p:nvSpPr>
        <p:spPr>
          <a:xfrm flipH="1">
            <a:off x="11747035" y="4955739"/>
            <a:ext cx="375441" cy="250103"/>
          </a:xfrm>
          <a:custGeom>
            <a:avLst/>
            <a:gdLst>
              <a:gd name="connsiteX0" fmla="*/ 72104 w 72103"/>
              <a:gd name="connsiteY0" fmla="*/ 24035 h 48032"/>
              <a:gd name="connsiteX1" fmla="*/ 0 w 72103"/>
              <a:gd name="connsiteY1" fmla="*/ 48032 h 48032"/>
              <a:gd name="connsiteX2" fmla="*/ 0 w 72103"/>
              <a:gd name="connsiteY2" fmla="*/ 24035 h 48032"/>
              <a:gd name="connsiteX3" fmla="*/ 72104 w 72103"/>
              <a:gd name="connsiteY3" fmla="*/ 0 h 48032"/>
              <a:gd name="connsiteX4" fmla="*/ 72104 w 72103"/>
              <a:gd name="connsiteY4" fmla="*/ 24035 h 4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03" h="48032">
                <a:moveTo>
                  <a:pt x="72104" y="24035"/>
                </a:moveTo>
                <a:lnTo>
                  <a:pt x="0" y="48032"/>
                </a:lnTo>
                <a:lnTo>
                  <a:pt x="0" y="24035"/>
                </a:lnTo>
                <a:lnTo>
                  <a:pt x="72104" y="0"/>
                </a:lnTo>
                <a:lnTo>
                  <a:pt x="72104" y="24035"/>
                </a:lnTo>
                <a:close/>
              </a:path>
            </a:pathLst>
          </a:custGeom>
          <a:solidFill>
            <a:srgbClr val="FDD3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31" name="Freihandform: Form 130">
            <a:extLst>
              <a:ext uri="{FF2B5EF4-FFF2-40B4-BE49-F238E27FC236}">
                <a16:creationId xmlns:a16="http://schemas.microsoft.com/office/drawing/2014/main" id="{12122E02-01D0-C78E-C05C-D41C7C976F31}"/>
              </a:ext>
            </a:extLst>
          </p:cNvPr>
          <p:cNvSpPr/>
          <p:nvPr/>
        </p:nvSpPr>
        <p:spPr>
          <a:xfrm flipH="1">
            <a:off x="11872180" y="5330988"/>
            <a:ext cx="125145" cy="250295"/>
          </a:xfrm>
          <a:custGeom>
            <a:avLst/>
            <a:gdLst>
              <a:gd name="connsiteX0" fmla="*/ 0 w 24034"/>
              <a:gd name="connsiteY0" fmla="*/ 0 h 48069"/>
              <a:gd name="connsiteX1" fmla="*/ 24035 w 24034"/>
              <a:gd name="connsiteY1" fmla="*/ 0 h 48069"/>
              <a:gd name="connsiteX2" fmla="*/ 24035 w 24034"/>
              <a:gd name="connsiteY2" fmla="*/ 48069 h 48069"/>
              <a:gd name="connsiteX3" fmla="*/ 0 w 24034"/>
              <a:gd name="connsiteY3" fmla="*/ 48069 h 48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34" h="48069">
                <a:moveTo>
                  <a:pt x="0" y="0"/>
                </a:moveTo>
                <a:lnTo>
                  <a:pt x="24035" y="0"/>
                </a:lnTo>
                <a:lnTo>
                  <a:pt x="24035" y="48069"/>
                </a:lnTo>
                <a:lnTo>
                  <a:pt x="0" y="48069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32" name="Freihandform: Form 131">
            <a:extLst>
              <a:ext uri="{FF2B5EF4-FFF2-40B4-BE49-F238E27FC236}">
                <a16:creationId xmlns:a16="http://schemas.microsoft.com/office/drawing/2014/main" id="{17910229-F232-E5AE-BE57-A4D042046973}"/>
              </a:ext>
            </a:extLst>
          </p:cNvPr>
          <p:cNvSpPr/>
          <p:nvPr/>
        </p:nvSpPr>
        <p:spPr>
          <a:xfrm flipH="1">
            <a:off x="11872180" y="5330988"/>
            <a:ext cx="125145" cy="25879"/>
          </a:xfrm>
          <a:custGeom>
            <a:avLst/>
            <a:gdLst>
              <a:gd name="connsiteX0" fmla="*/ 0 w 24034"/>
              <a:gd name="connsiteY0" fmla="*/ 0 h 4970"/>
              <a:gd name="connsiteX1" fmla="*/ 24035 w 24034"/>
              <a:gd name="connsiteY1" fmla="*/ 0 h 4970"/>
              <a:gd name="connsiteX2" fmla="*/ 24035 w 24034"/>
              <a:gd name="connsiteY2" fmla="*/ 4970 h 4970"/>
              <a:gd name="connsiteX3" fmla="*/ 0 w 24034"/>
              <a:gd name="connsiteY3" fmla="*/ 4970 h 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34" h="4970">
                <a:moveTo>
                  <a:pt x="0" y="0"/>
                </a:moveTo>
                <a:lnTo>
                  <a:pt x="24035" y="0"/>
                </a:lnTo>
                <a:lnTo>
                  <a:pt x="24035" y="4970"/>
                </a:lnTo>
                <a:lnTo>
                  <a:pt x="0" y="4970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24C5C0B8-E4DB-D737-5D70-BC782D5C9B42}"/>
              </a:ext>
            </a:extLst>
          </p:cNvPr>
          <p:cNvSpPr/>
          <p:nvPr/>
        </p:nvSpPr>
        <p:spPr>
          <a:xfrm>
            <a:off x="0" y="5938366"/>
            <a:ext cx="12192000" cy="392393"/>
          </a:xfrm>
          <a:prstGeom prst="rect">
            <a:avLst/>
          </a:prstGeom>
          <a:solidFill>
            <a:srgbClr val="EDE6E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1" name="Freihandform: Form 140">
            <a:extLst>
              <a:ext uri="{FF2B5EF4-FFF2-40B4-BE49-F238E27FC236}">
                <a16:creationId xmlns:a16="http://schemas.microsoft.com/office/drawing/2014/main" id="{7C06105D-E32E-5B39-CD75-A1D837AEA794}"/>
              </a:ext>
            </a:extLst>
          </p:cNvPr>
          <p:cNvSpPr/>
          <p:nvPr/>
        </p:nvSpPr>
        <p:spPr>
          <a:xfrm>
            <a:off x="9223993" y="5027597"/>
            <a:ext cx="1115946" cy="336663"/>
          </a:xfrm>
          <a:custGeom>
            <a:avLst/>
            <a:gdLst>
              <a:gd name="connsiteX0" fmla="*/ 0 w 405471"/>
              <a:gd name="connsiteY0" fmla="*/ 122324 h 122324"/>
              <a:gd name="connsiteX1" fmla="*/ 301285 w 405471"/>
              <a:gd name="connsiteY1" fmla="*/ 122324 h 122324"/>
              <a:gd name="connsiteX2" fmla="*/ 405472 w 405471"/>
              <a:gd name="connsiteY2" fmla="*/ 0 h 122324"/>
              <a:gd name="connsiteX3" fmla="*/ 104187 w 405471"/>
              <a:gd name="connsiteY3" fmla="*/ 0 h 122324"/>
              <a:gd name="connsiteX4" fmla="*/ 0 w 405471"/>
              <a:gd name="connsiteY4" fmla="*/ 122324 h 1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71" h="122324">
                <a:moveTo>
                  <a:pt x="0" y="122324"/>
                </a:moveTo>
                <a:lnTo>
                  <a:pt x="301285" y="122324"/>
                </a:lnTo>
                <a:lnTo>
                  <a:pt x="405472" y="0"/>
                </a:lnTo>
                <a:lnTo>
                  <a:pt x="104187" y="0"/>
                </a:lnTo>
                <a:lnTo>
                  <a:pt x="0" y="122324"/>
                </a:lnTo>
                <a:close/>
              </a:path>
            </a:pathLst>
          </a:custGeom>
          <a:solidFill>
            <a:srgbClr val="968F8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2" name="Freihandform: Form 141">
            <a:extLst>
              <a:ext uri="{FF2B5EF4-FFF2-40B4-BE49-F238E27FC236}">
                <a16:creationId xmlns:a16="http://schemas.microsoft.com/office/drawing/2014/main" id="{36483053-C5D6-621A-5354-458F9330020E}"/>
              </a:ext>
            </a:extLst>
          </p:cNvPr>
          <p:cNvSpPr/>
          <p:nvPr/>
        </p:nvSpPr>
        <p:spPr>
          <a:xfrm>
            <a:off x="10516235" y="5616558"/>
            <a:ext cx="210325" cy="314975"/>
          </a:xfrm>
          <a:custGeom>
            <a:avLst/>
            <a:gdLst>
              <a:gd name="connsiteX0" fmla="*/ 20288 w 76420"/>
              <a:gd name="connsiteY0" fmla="*/ 30912 h 114444"/>
              <a:gd name="connsiteX1" fmla="*/ 17618 w 76420"/>
              <a:gd name="connsiteY1" fmla="*/ 19080 h 114444"/>
              <a:gd name="connsiteX2" fmla="*/ 36719 w 76420"/>
              <a:gd name="connsiteY2" fmla="*/ 53 h 114444"/>
              <a:gd name="connsiteX3" fmla="*/ 58862 w 76420"/>
              <a:gd name="connsiteY3" fmla="*/ 20638 h 114444"/>
              <a:gd name="connsiteX4" fmla="*/ 56081 w 76420"/>
              <a:gd name="connsiteY4" fmla="*/ 30986 h 114444"/>
              <a:gd name="connsiteX5" fmla="*/ 59270 w 76420"/>
              <a:gd name="connsiteY5" fmla="*/ 44376 h 114444"/>
              <a:gd name="connsiteX6" fmla="*/ 76406 w 76420"/>
              <a:gd name="connsiteY6" fmla="*/ 77312 h 114444"/>
              <a:gd name="connsiteX7" fmla="*/ 38833 w 76420"/>
              <a:gd name="connsiteY7" fmla="*/ 114440 h 114444"/>
              <a:gd name="connsiteX8" fmla="*/ 0 w 76420"/>
              <a:gd name="connsiteY8" fmla="*/ 76237 h 114444"/>
              <a:gd name="connsiteX9" fmla="*/ 17173 w 76420"/>
              <a:gd name="connsiteY9" fmla="*/ 44376 h 114444"/>
              <a:gd name="connsiteX10" fmla="*/ 20325 w 76420"/>
              <a:gd name="connsiteY10" fmla="*/ 30912 h 11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420" h="114444">
                <a:moveTo>
                  <a:pt x="20288" y="30912"/>
                </a:moveTo>
                <a:cubicBezTo>
                  <a:pt x="18322" y="27463"/>
                  <a:pt x="17284" y="23420"/>
                  <a:pt x="17618" y="19080"/>
                </a:cubicBezTo>
                <a:cubicBezTo>
                  <a:pt x="18360" y="8955"/>
                  <a:pt x="26556" y="758"/>
                  <a:pt x="36719" y="53"/>
                </a:cubicBezTo>
                <a:cubicBezTo>
                  <a:pt x="48811" y="-800"/>
                  <a:pt x="58862" y="8732"/>
                  <a:pt x="58862" y="20638"/>
                </a:cubicBezTo>
                <a:cubicBezTo>
                  <a:pt x="58862" y="24421"/>
                  <a:pt x="57861" y="27945"/>
                  <a:pt x="56081" y="30986"/>
                </a:cubicBezTo>
                <a:cubicBezTo>
                  <a:pt x="53447" y="35548"/>
                  <a:pt x="54856" y="41446"/>
                  <a:pt x="59270" y="44376"/>
                </a:cubicBezTo>
                <a:cubicBezTo>
                  <a:pt x="69878" y="51386"/>
                  <a:pt x="76777" y="63552"/>
                  <a:pt x="76406" y="77312"/>
                </a:cubicBezTo>
                <a:cubicBezTo>
                  <a:pt x="75850" y="97638"/>
                  <a:pt x="59159" y="114143"/>
                  <a:pt x="38833" y="114440"/>
                </a:cubicBezTo>
                <a:cubicBezTo>
                  <a:pt x="17432" y="114774"/>
                  <a:pt x="0" y="97564"/>
                  <a:pt x="0" y="76237"/>
                </a:cubicBezTo>
                <a:cubicBezTo>
                  <a:pt x="0" y="62921"/>
                  <a:pt x="6824" y="51201"/>
                  <a:pt x="17173" y="44376"/>
                </a:cubicBezTo>
                <a:cubicBezTo>
                  <a:pt x="21623" y="41446"/>
                  <a:pt x="22959" y="35548"/>
                  <a:pt x="20325" y="30912"/>
                </a:cubicBezTo>
              </a:path>
            </a:pathLst>
          </a:custGeom>
          <a:solidFill>
            <a:srgbClr val="3B631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3" name="Freihandform: Form 142">
            <a:extLst>
              <a:ext uri="{FF2B5EF4-FFF2-40B4-BE49-F238E27FC236}">
                <a16:creationId xmlns:a16="http://schemas.microsoft.com/office/drawing/2014/main" id="{F51B6C72-DA90-6731-85A9-A13B05DE2CAE}"/>
              </a:ext>
            </a:extLst>
          </p:cNvPr>
          <p:cNvSpPr/>
          <p:nvPr/>
        </p:nvSpPr>
        <p:spPr>
          <a:xfrm>
            <a:off x="10053196" y="5027597"/>
            <a:ext cx="567263" cy="336663"/>
          </a:xfrm>
          <a:custGeom>
            <a:avLst/>
            <a:gdLst>
              <a:gd name="connsiteX0" fmla="*/ 104187 w 206111"/>
              <a:gd name="connsiteY0" fmla="*/ 0 h 122324"/>
              <a:gd name="connsiteX1" fmla="*/ 0 w 206111"/>
              <a:gd name="connsiteY1" fmla="*/ 122324 h 122324"/>
              <a:gd name="connsiteX2" fmla="*/ 206111 w 206111"/>
              <a:gd name="connsiteY2" fmla="*/ 122324 h 122324"/>
              <a:gd name="connsiteX3" fmla="*/ 104187 w 206111"/>
              <a:gd name="connsiteY3" fmla="*/ 0 h 1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111" h="122324">
                <a:moveTo>
                  <a:pt x="104187" y="0"/>
                </a:moveTo>
                <a:lnTo>
                  <a:pt x="0" y="122324"/>
                </a:lnTo>
                <a:lnTo>
                  <a:pt x="206111" y="122324"/>
                </a:lnTo>
                <a:lnTo>
                  <a:pt x="104187" y="0"/>
                </a:lnTo>
                <a:close/>
              </a:path>
            </a:pathLst>
          </a:custGeom>
          <a:solidFill>
            <a:srgbClr val="E2C39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4" name="Freihandform: Form 143">
            <a:extLst>
              <a:ext uri="{FF2B5EF4-FFF2-40B4-BE49-F238E27FC236}">
                <a16:creationId xmlns:a16="http://schemas.microsoft.com/office/drawing/2014/main" id="{DD8FB013-D915-8E59-DB2D-82A059C3F499}"/>
              </a:ext>
            </a:extLst>
          </p:cNvPr>
          <p:cNvSpPr/>
          <p:nvPr/>
        </p:nvSpPr>
        <p:spPr>
          <a:xfrm>
            <a:off x="9223993" y="5364259"/>
            <a:ext cx="829200" cy="567260"/>
          </a:xfrm>
          <a:custGeom>
            <a:avLst/>
            <a:gdLst>
              <a:gd name="connsiteX0" fmla="*/ 301285 w 301284"/>
              <a:gd name="connsiteY0" fmla="*/ 206111 h 206110"/>
              <a:gd name="connsiteX1" fmla="*/ 265604 w 301284"/>
              <a:gd name="connsiteY1" fmla="*/ 206111 h 206110"/>
              <a:gd name="connsiteX2" fmla="*/ 265604 w 301284"/>
              <a:gd name="connsiteY2" fmla="*/ 201586 h 206110"/>
              <a:gd name="connsiteX3" fmla="*/ 182336 w 301284"/>
              <a:gd name="connsiteY3" fmla="*/ 201586 h 206110"/>
              <a:gd name="connsiteX4" fmla="*/ 182336 w 301284"/>
              <a:gd name="connsiteY4" fmla="*/ 206111 h 206110"/>
              <a:gd name="connsiteX5" fmla="*/ 0 w 301284"/>
              <a:gd name="connsiteY5" fmla="*/ 206111 h 206110"/>
              <a:gd name="connsiteX6" fmla="*/ 0 w 301284"/>
              <a:gd name="connsiteY6" fmla="*/ 0 h 206110"/>
              <a:gd name="connsiteX7" fmla="*/ 301285 w 301284"/>
              <a:gd name="connsiteY7" fmla="*/ 0 h 206110"/>
              <a:gd name="connsiteX8" fmla="*/ 301285 w 301284"/>
              <a:gd name="connsiteY8" fmla="*/ 206111 h 206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1284" h="206110">
                <a:moveTo>
                  <a:pt x="301285" y="206111"/>
                </a:moveTo>
                <a:lnTo>
                  <a:pt x="265604" y="206111"/>
                </a:lnTo>
                <a:lnTo>
                  <a:pt x="265604" y="201586"/>
                </a:lnTo>
                <a:lnTo>
                  <a:pt x="182336" y="201586"/>
                </a:lnTo>
                <a:lnTo>
                  <a:pt x="182336" y="206111"/>
                </a:lnTo>
                <a:lnTo>
                  <a:pt x="0" y="206111"/>
                </a:lnTo>
                <a:lnTo>
                  <a:pt x="0" y="0"/>
                </a:lnTo>
                <a:lnTo>
                  <a:pt x="301285" y="0"/>
                </a:lnTo>
                <a:lnTo>
                  <a:pt x="301285" y="206111"/>
                </a:lnTo>
                <a:close/>
              </a:path>
            </a:pathLst>
          </a:custGeom>
          <a:solidFill>
            <a:srgbClr val="F2DEC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5" name="Freihandform: Form 144">
            <a:extLst>
              <a:ext uri="{FF2B5EF4-FFF2-40B4-BE49-F238E27FC236}">
                <a16:creationId xmlns:a16="http://schemas.microsoft.com/office/drawing/2014/main" id="{595DA611-49D2-8CF4-82F4-691AA4A644D2}"/>
              </a:ext>
            </a:extLst>
          </p:cNvPr>
          <p:cNvSpPr/>
          <p:nvPr/>
        </p:nvSpPr>
        <p:spPr>
          <a:xfrm>
            <a:off x="10053196" y="5364259"/>
            <a:ext cx="567263" cy="567260"/>
          </a:xfrm>
          <a:custGeom>
            <a:avLst/>
            <a:gdLst>
              <a:gd name="connsiteX0" fmla="*/ 0 w 206111"/>
              <a:gd name="connsiteY0" fmla="*/ 206111 h 206110"/>
              <a:gd name="connsiteX1" fmla="*/ 206111 w 206111"/>
              <a:gd name="connsiteY1" fmla="*/ 206111 h 206110"/>
              <a:gd name="connsiteX2" fmla="*/ 206111 w 206111"/>
              <a:gd name="connsiteY2" fmla="*/ 154036 h 206110"/>
              <a:gd name="connsiteX3" fmla="*/ 201586 w 206111"/>
              <a:gd name="connsiteY3" fmla="*/ 154036 h 206110"/>
              <a:gd name="connsiteX4" fmla="*/ 201586 w 206111"/>
              <a:gd name="connsiteY4" fmla="*/ 97399 h 206110"/>
              <a:gd name="connsiteX5" fmla="*/ 206111 w 206111"/>
              <a:gd name="connsiteY5" fmla="*/ 97399 h 206110"/>
              <a:gd name="connsiteX6" fmla="*/ 206111 w 206111"/>
              <a:gd name="connsiteY6" fmla="*/ 0 h 206110"/>
              <a:gd name="connsiteX7" fmla="*/ 0 w 206111"/>
              <a:gd name="connsiteY7" fmla="*/ 0 h 206110"/>
              <a:gd name="connsiteX8" fmla="*/ 0 w 206111"/>
              <a:gd name="connsiteY8" fmla="*/ 206111 h 206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6111" h="206110">
                <a:moveTo>
                  <a:pt x="0" y="206111"/>
                </a:moveTo>
                <a:lnTo>
                  <a:pt x="206111" y="206111"/>
                </a:lnTo>
                <a:lnTo>
                  <a:pt x="206111" y="154036"/>
                </a:lnTo>
                <a:lnTo>
                  <a:pt x="201586" y="154036"/>
                </a:lnTo>
                <a:lnTo>
                  <a:pt x="201586" y="97399"/>
                </a:lnTo>
                <a:lnTo>
                  <a:pt x="206111" y="97399"/>
                </a:lnTo>
                <a:lnTo>
                  <a:pt x="206111" y="0"/>
                </a:lnTo>
                <a:lnTo>
                  <a:pt x="0" y="0"/>
                </a:lnTo>
                <a:lnTo>
                  <a:pt x="0" y="206111"/>
                </a:lnTo>
                <a:close/>
              </a:path>
            </a:pathLst>
          </a:custGeom>
          <a:solidFill>
            <a:srgbClr val="E2C39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6" name="Freihandform: Form 145">
            <a:extLst>
              <a:ext uri="{FF2B5EF4-FFF2-40B4-BE49-F238E27FC236}">
                <a16:creationId xmlns:a16="http://schemas.microsoft.com/office/drawing/2014/main" id="{3DD608E4-9CDB-C1C7-85ED-AB1FBBA2B979}"/>
              </a:ext>
            </a:extLst>
          </p:cNvPr>
          <p:cNvSpPr/>
          <p:nvPr/>
        </p:nvSpPr>
        <p:spPr>
          <a:xfrm>
            <a:off x="9346492" y="5083640"/>
            <a:ext cx="868807" cy="212020"/>
          </a:xfrm>
          <a:custGeom>
            <a:avLst/>
            <a:gdLst>
              <a:gd name="connsiteX0" fmla="*/ 0 w 315675"/>
              <a:gd name="connsiteY0" fmla="*/ 77036 h 77036"/>
              <a:gd name="connsiteX1" fmla="*/ 65613 w 315675"/>
              <a:gd name="connsiteY1" fmla="*/ 0 h 77036"/>
              <a:gd name="connsiteX2" fmla="*/ 315676 w 315675"/>
              <a:gd name="connsiteY2" fmla="*/ 0 h 77036"/>
              <a:gd name="connsiteX3" fmla="*/ 250063 w 315675"/>
              <a:gd name="connsiteY3" fmla="*/ 77036 h 77036"/>
              <a:gd name="connsiteX4" fmla="*/ 0 w 315675"/>
              <a:gd name="connsiteY4" fmla="*/ 77036 h 77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675" h="77036">
                <a:moveTo>
                  <a:pt x="0" y="77036"/>
                </a:moveTo>
                <a:lnTo>
                  <a:pt x="65613" y="0"/>
                </a:lnTo>
                <a:lnTo>
                  <a:pt x="315676" y="0"/>
                </a:lnTo>
                <a:lnTo>
                  <a:pt x="250063" y="77036"/>
                </a:lnTo>
                <a:lnTo>
                  <a:pt x="0" y="77036"/>
                </a:lnTo>
                <a:close/>
              </a:path>
            </a:pathLst>
          </a:custGeom>
          <a:solidFill>
            <a:srgbClr val="00185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7" name="Freihandform: Form 146">
            <a:extLst>
              <a:ext uri="{FF2B5EF4-FFF2-40B4-BE49-F238E27FC236}">
                <a16:creationId xmlns:a16="http://schemas.microsoft.com/office/drawing/2014/main" id="{7239EB35-D219-C6F1-EB2F-C7847F57B0C5}"/>
              </a:ext>
            </a:extLst>
          </p:cNvPr>
          <p:cNvSpPr/>
          <p:nvPr/>
        </p:nvSpPr>
        <p:spPr>
          <a:xfrm>
            <a:off x="9346492" y="5083640"/>
            <a:ext cx="868807" cy="212020"/>
          </a:xfrm>
          <a:custGeom>
            <a:avLst/>
            <a:gdLst>
              <a:gd name="connsiteX0" fmla="*/ 0 w 315675"/>
              <a:gd name="connsiteY0" fmla="*/ 77036 h 77036"/>
              <a:gd name="connsiteX1" fmla="*/ 65613 w 315675"/>
              <a:gd name="connsiteY1" fmla="*/ 0 h 77036"/>
              <a:gd name="connsiteX2" fmla="*/ 315676 w 315675"/>
              <a:gd name="connsiteY2" fmla="*/ 0 h 77036"/>
              <a:gd name="connsiteX3" fmla="*/ 250063 w 315675"/>
              <a:gd name="connsiteY3" fmla="*/ 77036 h 77036"/>
              <a:gd name="connsiteX4" fmla="*/ 0 w 315675"/>
              <a:gd name="connsiteY4" fmla="*/ 77036 h 77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675" h="77036">
                <a:moveTo>
                  <a:pt x="0" y="77036"/>
                </a:moveTo>
                <a:lnTo>
                  <a:pt x="65613" y="0"/>
                </a:lnTo>
                <a:lnTo>
                  <a:pt x="315676" y="0"/>
                </a:lnTo>
                <a:lnTo>
                  <a:pt x="250063" y="77036"/>
                </a:lnTo>
                <a:lnTo>
                  <a:pt x="0" y="77036"/>
                </a:lnTo>
                <a:close/>
              </a:path>
            </a:pathLst>
          </a:custGeom>
          <a:solidFill>
            <a:srgbClr val="00185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8" name="Freihandform: Form 147">
            <a:extLst>
              <a:ext uri="{FF2B5EF4-FFF2-40B4-BE49-F238E27FC236}">
                <a16:creationId xmlns:a16="http://schemas.microsoft.com/office/drawing/2014/main" id="{BD334B14-8D61-63CF-47EF-5C606CFD5588}"/>
              </a:ext>
            </a:extLst>
          </p:cNvPr>
          <p:cNvSpPr/>
          <p:nvPr/>
        </p:nvSpPr>
        <p:spPr>
          <a:xfrm>
            <a:off x="9433872" y="5096094"/>
            <a:ext cx="698230" cy="187011"/>
          </a:xfrm>
          <a:custGeom>
            <a:avLst/>
            <a:gdLst>
              <a:gd name="connsiteX0" fmla="*/ 20363 w 253697"/>
              <a:gd name="connsiteY0" fmla="*/ 21142 h 67949"/>
              <a:gd name="connsiteX1" fmla="*/ 253698 w 253697"/>
              <a:gd name="connsiteY1" fmla="*/ 21142 h 67949"/>
              <a:gd name="connsiteX2" fmla="*/ 0 w 253697"/>
              <a:gd name="connsiteY2" fmla="*/ 46808 h 67949"/>
              <a:gd name="connsiteX3" fmla="*/ 231072 w 253697"/>
              <a:gd name="connsiteY3" fmla="*/ 46808 h 67949"/>
              <a:gd name="connsiteX4" fmla="*/ 71807 w 253697"/>
              <a:gd name="connsiteY4" fmla="*/ 0 h 67949"/>
              <a:gd name="connsiteX5" fmla="*/ 53781 w 253697"/>
              <a:gd name="connsiteY5" fmla="*/ 21142 h 67949"/>
              <a:gd name="connsiteX6" fmla="*/ 31898 w 253697"/>
              <a:gd name="connsiteY6" fmla="*/ 46808 h 67949"/>
              <a:gd name="connsiteX7" fmla="*/ 13872 w 253697"/>
              <a:gd name="connsiteY7" fmla="*/ 67949 h 67949"/>
              <a:gd name="connsiteX8" fmla="*/ 113422 w 253697"/>
              <a:gd name="connsiteY8" fmla="*/ 0 h 67949"/>
              <a:gd name="connsiteX9" fmla="*/ 95396 w 253697"/>
              <a:gd name="connsiteY9" fmla="*/ 21142 h 67949"/>
              <a:gd name="connsiteX10" fmla="*/ 73513 w 253697"/>
              <a:gd name="connsiteY10" fmla="*/ 46808 h 67949"/>
              <a:gd name="connsiteX11" fmla="*/ 55487 w 253697"/>
              <a:gd name="connsiteY11" fmla="*/ 67949 h 67949"/>
              <a:gd name="connsiteX12" fmla="*/ 155037 w 253697"/>
              <a:gd name="connsiteY12" fmla="*/ 0 h 67949"/>
              <a:gd name="connsiteX13" fmla="*/ 137011 w 253697"/>
              <a:gd name="connsiteY13" fmla="*/ 21142 h 67949"/>
              <a:gd name="connsiteX14" fmla="*/ 115128 w 253697"/>
              <a:gd name="connsiteY14" fmla="*/ 46808 h 67949"/>
              <a:gd name="connsiteX15" fmla="*/ 97102 w 253697"/>
              <a:gd name="connsiteY15" fmla="*/ 67949 h 67949"/>
              <a:gd name="connsiteX16" fmla="*/ 138755 w 253697"/>
              <a:gd name="connsiteY16" fmla="*/ 67949 h 67949"/>
              <a:gd name="connsiteX17" fmla="*/ 156781 w 253697"/>
              <a:gd name="connsiteY17" fmla="*/ 46808 h 67949"/>
              <a:gd name="connsiteX18" fmla="*/ 178664 w 253697"/>
              <a:gd name="connsiteY18" fmla="*/ 21142 h 67949"/>
              <a:gd name="connsiteX19" fmla="*/ 196690 w 253697"/>
              <a:gd name="connsiteY19" fmla="*/ 0 h 67949"/>
              <a:gd name="connsiteX20" fmla="*/ 180444 w 253697"/>
              <a:gd name="connsiteY20" fmla="*/ 67949 h 67949"/>
              <a:gd name="connsiteX21" fmla="*/ 198433 w 253697"/>
              <a:gd name="connsiteY21" fmla="*/ 46808 h 67949"/>
              <a:gd name="connsiteX22" fmla="*/ 220317 w 253697"/>
              <a:gd name="connsiteY22" fmla="*/ 21142 h 67949"/>
              <a:gd name="connsiteX23" fmla="*/ 238305 w 253697"/>
              <a:gd name="connsiteY23" fmla="*/ 0 h 67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53697" h="67949">
                <a:moveTo>
                  <a:pt x="20363" y="21142"/>
                </a:moveTo>
                <a:lnTo>
                  <a:pt x="253698" y="21142"/>
                </a:lnTo>
                <a:moveTo>
                  <a:pt x="0" y="46808"/>
                </a:moveTo>
                <a:lnTo>
                  <a:pt x="231072" y="46808"/>
                </a:lnTo>
                <a:moveTo>
                  <a:pt x="71807" y="0"/>
                </a:moveTo>
                <a:lnTo>
                  <a:pt x="53781" y="21142"/>
                </a:lnTo>
                <a:lnTo>
                  <a:pt x="31898" y="46808"/>
                </a:lnTo>
                <a:lnTo>
                  <a:pt x="13872" y="67949"/>
                </a:lnTo>
                <a:moveTo>
                  <a:pt x="113422" y="0"/>
                </a:moveTo>
                <a:lnTo>
                  <a:pt x="95396" y="21142"/>
                </a:lnTo>
                <a:lnTo>
                  <a:pt x="73513" y="46808"/>
                </a:lnTo>
                <a:lnTo>
                  <a:pt x="55487" y="67949"/>
                </a:lnTo>
                <a:moveTo>
                  <a:pt x="155037" y="0"/>
                </a:moveTo>
                <a:lnTo>
                  <a:pt x="137011" y="21142"/>
                </a:lnTo>
                <a:lnTo>
                  <a:pt x="115128" y="46808"/>
                </a:lnTo>
                <a:lnTo>
                  <a:pt x="97102" y="67949"/>
                </a:lnTo>
                <a:moveTo>
                  <a:pt x="138755" y="67949"/>
                </a:moveTo>
                <a:lnTo>
                  <a:pt x="156781" y="46808"/>
                </a:lnTo>
                <a:lnTo>
                  <a:pt x="178664" y="21142"/>
                </a:lnTo>
                <a:lnTo>
                  <a:pt x="196690" y="0"/>
                </a:lnTo>
                <a:moveTo>
                  <a:pt x="180444" y="67949"/>
                </a:moveTo>
                <a:lnTo>
                  <a:pt x="198433" y="46808"/>
                </a:lnTo>
                <a:lnTo>
                  <a:pt x="220317" y="21142"/>
                </a:lnTo>
                <a:lnTo>
                  <a:pt x="238305" y="0"/>
                </a:lnTo>
              </a:path>
            </a:pathLst>
          </a:custGeom>
          <a:noFill/>
          <a:ln w="2262" cap="rnd">
            <a:solidFill>
              <a:srgbClr val="1195E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9" name="Freihandform: Form 148">
            <a:extLst>
              <a:ext uri="{FF2B5EF4-FFF2-40B4-BE49-F238E27FC236}">
                <a16:creationId xmlns:a16="http://schemas.microsoft.com/office/drawing/2014/main" id="{659F6DA7-6F09-BB0B-01FC-E0A7A49B4E69}"/>
              </a:ext>
            </a:extLst>
          </p:cNvPr>
          <p:cNvSpPr/>
          <p:nvPr/>
        </p:nvSpPr>
        <p:spPr>
          <a:xfrm>
            <a:off x="10277568" y="5227064"/>
            <a:ext cx="118412" cy="268063"/>
          </a:xfrm>
          <a:custGeom>
            <a:avLst/>
            <a:gdLst>
              <a:gd name="connsiteX0" fmla="*/ 0 w 43024"/>
              <a:gd name="connsiteY0" fmla="*/ 0 h 97399"/>
              <a:gd name="connsiteX1" fmla="*/ 43025 w 43024"/>
              <a:gd name="connsiteY1" fmla="*/ 0 h 97399"/>
              <a:gd name="connsiteX2" fmla="*/ 43025 w 43024"/>
              <a:gd name="connsiteY2" fmla="*/ 97399 h 97399"/>
              <a:gd name="connsiteX3" fmla="*/ 0 w 43024"/>
              <a:gd name="connsiteY3" fmla="*/ 97399 h 97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24" h="97399">
                <a:moveTo>
                  <a:pt x="0" y="0"/>
                </a:moveTo>
                <a:lnTo>
                  <a:pt x="43025" y="0"/>
                </a:lnTo>
                <a:lnTo>
                  <a:pt x="43025" y="97399"/>
                </a:lnTo>
                <a:lnTo>
                  <a:pt x="0" y="97399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0" name="Freihandform: Form 149">
            <a:extLst>
              <a:ext uri="{FF2B5EF4-FFF2-40B4-BE49-F238E27FC236}">
                <a16:creationId xmlns:a16="http://schemas.microsoft.com/office/drawing/2014/main" id="{A83A8DD5-EAF5-F6C3-1712-B2E1C4A3BD33}"/>
              </a:ext>
            </a:extLst>
          </p:cNvPr>
          <p:cNvSpPr/>
          <p:nvPr/>
        </p:nvSpPr>
        <p:spPr>
          <a:xfrm>
            <a:off x="10290021" y="5239518"/>
            <a:ext cx="93504" cy="255609"/>
          </a:xfrm>
          <a:custGeom>
            <a:avLst/>
            <a:gdLst>
              <a:gd name="connsiteX0" fmla="*/ 0 w 33974"/>
              <a:gd name="connsiteY0" fmla="*/ 0 h 92874"/>
              <a:gd name="connsiteX1" fmla="*/ 33975 w 33974"/>
              <a:gd name="connsiteY1" fmla="*/ 0 h 92874"/>
              <a:gd name="connsiteX2" fmla="*/ 33975 w 33974"/>
              <a:gd name="connsiteY2" fmla="*/ 92874 h 92874"/>
              <a:gd name="connsiteX3" fmla="*/ 0 w 33974"/>
              <a:gd name="connsiteY3" fmla="*/ 92874 h 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4" h="92874">
                <a:moveTo>
                  <a:pt x="0" y="0"/>
                </a:moveTo>
                <a:lnTo>
                  <a:pt x="33975" y="0"/>
                </a:lnTo>
                <a:lnTo>
                  <a:pt x="33975" y="92874"/>
                </a:lnTo>
                <a:lnTo>
                  <a:pt x="0" y="92874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1" name="Freihandform: Form 150">
            <a:extLst>
              <a:ext uri="{FF2B5EF4-FFF2-40B4-BE49-F238E27FC236}">
                <a16:creationId xmlns:a16="http://schemas.microsoft.com/office/drawing/2014/main" id="{330BF017-8981-0006-4D33-E6D8F80907D5}"/>
              </a:ext>
            </a:extLst>
          </p:cNvPr>
          <p:cNvSpPr/>
          <p:nvPr/>
        </p:nvSpPr>
        <p:spPr>
          <a:xfrm>
            <a:off x="10290021" y="5239518"/>
            <a:ext cx="93504" cy="18680"/>
          </a:xfrm>
          <a:custGeom>
            <a:avLst/>
            <a:gdLst>
              <a:gd name="connsiteX0" fmla="*/ 0 w 33974"/>
              <a:gd name="connsiteY0" fmla="*/ 0 h 6787"/>
              <a:gd name="connsiteX1" fmla="*/ 33975 w 33974"/>
              <a:gd name="connsiteY1" fmla="*/ 0 h 6787"/>
              <a:gd name="connsiteX2" fmla="*/ 33975 w 33974"/>
              <a:gd name="connsiteY2" fmla="*/ 6788 h 6787"/>
              <a:gd name="connsiteX3" fmla="*/ 0 w 33974"/>
              <a:gd name="connsiteY3" fmla="*/ 6788 h 6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4" h="6787">
                <a:moveTo>
                  <a:pt x="0" y="0"/>
                </a:moveTo>
                <a:lnTo>
                  <a:pt x="33975" y="0"/>
                </a:lnTo>
                <a:lnTo>
                  <a:pt x="33975" y="6788"/>
                </a:lnTo>
                <a:lnTo>
                  <a:pt x="0" y="6788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2" name="Freihandform: Form 151">
            <a:extLst>
              <a:ext uri="{FF2B5EF4-FFF2-40B4-BE49-F238E27FC236}">
                <a16:creationId xmlns:a16="http://schemas.microsoft.com/office/drawing/2014/main" id="{51966549-5606-DDA9-B60C-4884CE332085}"/>
              </a:ext>
            </a:extLst>
          </p:cNvPr>
          <p:cNvSpPr/>
          <p:nvPr/>
        </p:nvSpPr>
        <p:spPr>
          <a:xfrm>
            <a:off x="9710308" y="5626097"/>
            <a:ext cx="261835" cy="299298"/>
          </a:xfrm>
          <a:custGeom>
            <a:avLst/>
            <a:gdLst>
              <a:gd name="connsiteX0" fmla="*/ 0 w 95136"/>
              <a:gd name="connsiteY0" fmla="*/ 0 h 108748"/>
              <a:gd name="connsiteX1" fmla="*/ 95137 w 95136"/>
              <a:gd name="connsiteY1" fmla="*/ 0 h 108748"/>
              <a:gd name="connsiteX2" fmla="*/ 95137 w 95136"/>
              <a:gd name="connsiteY2" fmla="*/ 108749 h 108748"/>
              <a:gd name="connsiteX3" fmla="*/ 0 w 95136"/>
              <a:gd name="connsiteY3" fmla="*/ 108749 h 108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136" h="108748">
                <a:moveTo>
                  <a:pt x="0" y="0"/>
                </a:moveTo>
                <a:lnTo>
                  <a:pt x="95137" y="0"/>
                </a:lnTo>
                <a:lnTo>
                  <a:pt x="95137" y="108749"/>
                </a:lnTo>
                <a:lnTo>
                  <a:pt x="0" y="108749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3" name="Freihandform: Form 152">
            <a:extLst>
              <a:ext uri="{FF2B5EF4-FFF2-40B4-BE49-F238E27FC236}">
                <a16:creationId xmlns:a16="http://schemas.microsoft.com/office/drawing/2014/main" id="{3151D222-F50C-5FCE-C37F-8E787D8D2986}"/>
              </a:ext>
            </a:extLst>
          </p:cNvPr>
          <p:cNvSpPr/>
          <p:nvPr/>
        </p:nvSpPr>
        <p:spPr>
          <a:xfrm>
            <a:off x="9710308" y="5626097"/>
            <a:ext cx="261835" cy="31133"/>
          </a:xfrm>
          <a:custGeom>
            <a:avLst/>
            <a:gdLst>
              <a:gd name="connsiteX0" fmla="*/ 0 w 95136"/>
              <a:gd name="connsiteY0" fmla="*/ 0 h 11312"/>
              <a:gd name="connsiteX1" fmla="*/ 95137 w 95136"/>
              <a:gd name="connsiteY1" fmla="*/ 0 h 11312"/>
              <a:gd name="connsiteX2" fmla="*/ 95137 w 95136"/>
              <a:gd name="connsiteY2" fmla="*/ 11312 h 11312"/>
              <a:gd name="connsiteX3" fmla="*/ 0 w 95136"/>
              <a:gd name="connsiteY3" fmla="*/ 11312 h 1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136" h="11312">
                <a:moveTo>
                  <a:pt x="0" y="0"/>
                </a:moveTo>
                <a:lnTo>
                  <a:pt x="95137" y="0"/>
                </a:lnTo>
                <a:lnTo>
                  <a:pt x="95137" y="11312"/>
                </a:lnTo>
                <a:lnTo>
                  <a:pt x="0" y="11312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4" name="Freihandform: Form 153">
            <a:extLst>
              <a:ext uri="{FF2B5EF4-FFF2-40B4-BE49-F238E27FC236}">
                <a16:creationId xmlns:a16="http://schemas.microsoft.com/office/drawing/2014/main" id="{CE5D9402-512D-A691-B342-BEBE347830CA}"/>
              </a:ext>
            </a:extLst>
          </p:cNvPr>
          <p:cNvSpPr/>
          <p:nvPr/>
        </p:nvSpPr>
        <p:spPr>
          <a:xfrm>
            <a:off x="9710305" y="5626097"/>
            <a:ext cx="261835" cy="305527"/>
          </a:xfrm>
          <a:custGeom>
            <a:avLst/>
            <a:gdLst>
              <a:gd name="connsiteX0" fmla="*/ 95137 w 95136"/>
              <a:gd name="connsiteY0" fmla="*/ 0 h 111011"/>
              <a:gd name="connsiteX1" fmla="*/ 0 w 95136"/>
              <a:gd name="connsiteY1" fmla="*/ 0 h 111011"/>
              <a:gd name="connsiteX2" fmla="*/ 0 w 95136"/>
              <a:gd name="connsiteY2" fmla="*/ 111011 h 111011"/>
              <a:gd name="connsiteX3" fmla="*/ 95137 w 95136"/>
              <a:gd name="connsiteY3" fmla="*/ 111011 h 111011"/>
              <a:gd name="connsiteX4" fmla="*/ 95137 w 95136"/>
              <a:gd name="connsiteY4" fmla="*/ 0 h 111011"/>
              <a:gd name="connsiteX5" fmla="*/ 90612 w 95136"/>
              <a:gd name="connsiteY5" fmla="*/ 106449 h 111011"/>
              <a:gd name="connsiteX6" fmla="*/ 4525 w 95136"/>
              <a:gd name="connsiteY6" fmla="*/ 106449 h 111011"/>
              <a:gd name="connsiteX7" fmla="*/ 4525 w 95136"/>
              <a:gd name="connsiteY7" fmla="*/ 4525 h 111011"/>
              <a:gd name="connsiteX8" fmla="*/ 90612 w 95136"/>
              <a:gd name="connsiteY8" fmla="*/ 4525 h 111011"/>
              <a:gd name="connsiteX9" fmla="*/ 90612 w 95136"/>
              <a:gd name="connsiteY9" fmla="*/ 106449 h 111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136" h="111011">
                <a:moveTo>
                  <a:pt x="95137" y="0"/>
                </a:moveTo>
                <a:lnTo>
                  <a:pt x="0" y="0"/>
                </a:lnTo>
                <a:lnTo>
                  <a:pt x="0" y="111011"/>
                </a:lnTo>
                <a:lnTo>
                  <a:pt x="95137" y="111011"/>
                </a:lnTo>
                <a:lnTo>
                  <a:pt x="95137" y="0"/>
                </a:lnTo>
                <a:close/>
                <a:moveTo>
                  <a:pt x="90612" y="106449"/>
                </a:moveTo>
                <a:lnTo>
                  <a:pt x="4525" y="106449"/>
                </a:lnTo>
                <a:lnTo>
                  <a:pt x="4525" y="4525"/>
                </a:lnTo>
                <a:lnTo>
                  <a:pt x="90612" y="4525"/>
                </a:lnTo>
                <a:lnTo>
                  <a:pt x="90612" y="106449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5" name="Freihandform: Form 154">
            <a:extLst>
              <a:ext uri="{FF2B5EF4-FFF2-40B4-BE49-F238E27FC236}">
                <a16:creationId xmlns:a16="http://schemas.microsoft.com/office/drawing/2014/main" id="{D1E60ECC-B27E-04DE-6CE5-84A790B55E39}"/>
              </a:ext>
            </a:extLst>
          </p:cNvPr>
          <p:cNvSpPr/>
          <p:nvPr/>
        </p:nvSpPr>
        <p:spPr>
          <a:xfrm>
            <a:off x="9841173" y="5626097"/>
            <a:ext cx="10208" cy="299196"/>
          </a:xfrm>
          <a:custGeom>
            <a:avLst/>
            <a:gdLst>
              <a:gd name="connsiteX0" fmla="*/ 0 w 3709"/>
              <a:gd name="connsiteY0" fmla="*/ 0 h 108711"/>
              <a:gd name="connsiteX1" fmla="*/ 0 w 3709"/>
              <a:gd name="connsiteY1" fmla="*/ 108712 h 108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09" h="108711">
                <a:moveTo>
                  <a:pt x="0" y="0"/>
                </a:moveTo>
                <a:lnTo>
                  <a:pt x="0" y="108712"/>
                </a:lnTo>
              </a:path>
            </a:pathLst>
          </a:custGeom>
          <a:ln w="4525" cap="flat">
            <a:solidFill>
              <a:srgbClr val="625A5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6" name="Freihandform: Form 155">
            <a:extLst>
              <a:ext uri="{FF2B5EF4-FFF2-40B4-BE49-F238E27FC236}">
                <a16:creationId xmlns:a16="http://schemas.microsoft.com/office/drawing/2014/main" id="{92173C3D-0BEC-2D0B-C861-3508B190FDD0}"/>
              </a:ext>
            </a:extLst>
          </p:cNvPr>
          <p:cNvSpPr/>
          <p:nvPr/>
        </p:nvSpPr>
        <p:spPr>
          <a:xfrm>
            <a:off x="9311275" y="5626097"/>
            <a:ext cx="261835" cy="205690"/>
          </a:xfrm>
          <a:custGeom>
            <a:avLst/>
            <a:gdLst>
              <a:gd name="connsiteX0" fmla="*/ 0 w 95136"/>
              <a:gd name="connsiteY0" fmla="*/ 0 h 74736"/>
              <a:gd name="connsiteX1" fmla="*/ 95137 w 95136"/>
              <a:gd name="connsiteY1" fmla="*/ 0 h 74736"/>
              <a:gd name="connsiteX2" fmla="*/ 95137 w 95136"/>
              <a:gd name="connsiteY2" fmla="*/ 74737 h 74736"/>
              <a:gd name="connsiteX3" fmla="*/ 0 w 95136"/>
              <a:gd name="connsiteY3" fmla="*/ 74737 h 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136" h="74736">
                <a:moveTo>
                  <a:pt x="0" y="0"/>
                </a:moveTo>
                <a:lnTo>
                  <a:pt x="95137" y="0"/>
                </a:lnTo>
                <a:lnTo>
                  <a:pt x="95137" y="74737"/>
                </a:lnTo>
                <a:lnTo>
                  <a:pt x="0" y="74737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7" name="Freihandform: Form 156">
            <a:extLst>
              <a:ext uri="{FF2B5EF4-FFF2-40B4-BE49-F238E27FC236}">
                <a16:creationId xmlns:a16="http://schemas.microsoft.com/office/drawing/2014/main" id="{BCCAE49E-BD87-DEAE-B064-9D106B076F87}"/>
              </a:ext>
            </a:extLst>
          </p:cNvPr>
          <p:cNvSpPr/>
          <p:nvPr/>
        </p:nvSpPr>
        <p:spPr>
          <a:xfrm>
            <a:off x="9317398" y="5632323"/>
            <a:ext cx="249585" cy="24907"/>
          </a:xfrm>
          <a:custGeom>
            <a:avLst/>
            <a:gdLst>
              <a:gd name="connsiteX0" fmla="*/ 0 w 90685"/>
              <a:gd name="connsiteY0" fmla="*/ 0 h 9050"/>
              <a:gd name="connsiteX1" fmla="*/ 90686 w 90685"/>
              <a:gd name="connsiteY1" fmla="*/ 0 h 9050"/>
              <a:gd name="connsiteX2" fmla="*/ 90686 w 90685"/>
              <a:gd name="connsiteY2" fmla="*/ 9050 h 9050"/>
              <a:gd name="connsiteX3" fmla="*/ 0 w 90685"/>
              <a:gd name="connsiteY3" fmla="*/ 9050 h 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85" h="9050">
                <a:moveTo>
                  <a:pt x="0" y="0"/>
                </a:moveTo>
                <a:lnTo>
                  <a:pt x="90686" y="0"/>
                </a:lnTo>
                <a:lnTo>
                  <a:pt x="90686" y="9050"/>
                </a:lnTo>
                <a:lnTo>
                  <a:pt x="0" y="9050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8" name="Freihandform: Form 157">
            <a:extLst>
              <a:ext uri="{FF2B5EF4-FFF2-40B4-BE49-F238E27FC236}">
                <a16:creationId xmlns:a16="http://schemas.microsoft.com/office/drawing/2014/main" id="{5D28940F-BDA1-DD4B-B9A8-A83BDC831B25}"/>
              </a:ext>
            </a:extLst>
          </p:cNvPr>
          <p:cNvSpPr/>
          <p:nvPr/>
        </p:nvSpPr>
        <p:spPr>
          <a:xfrm>
            <a:off x="9311275" y="5626097"/>
            <a:ext cx="261835" cy="205690"/>
          </a:xfrm>
          <a:custGeom>
            <a:avLst/>
            <a:gdLst>
              <a:gd name="connsiteX0" fmla="*/ 95137 w 95136"/>
              <a:gd name="connsiteY0" fmla="*/ 0 h 74736"/>
              <a:gd name="connsiteX1" fmla="*/ 0 w 95136"/>
              <a:gd name="connsiteY1" fmla="*/ 0 h 74736"/>
              <a:gd name="connsiteX2" fmla="*/ 0 w 95136"/>
              <a:gd name="connsiteY2" fmla="*/ 74737 h 74736"/>
              <a:gd name="connsiteX3" fmla="*/ 95137 w 95136"/>
              <a:gd name="connsiteY3" fmla="*/ 74737 h 74736"/>
              <a:gd name="connsiteX4" fmla="*/ 95137 w 95136"/>
              <a:gd name="connsiteY4" fmla="*/ 0 h 74736"/>
              <a:gd name="connsiteX5" fmla="*/ 90611 w 95136"/>
              <a:gd name="connsiteY5" fmla="*/ 70212 h 74736"/>
              <a:gd name="connsiteX6" fmla="*/ 4525 w 95136"/>
              <a:gd name="connsiteY6" fmla="*/ 70212 h 74736"/>
              <a:gd name="connsiteX7" fmla="*/ 4525 w 95136"/>
              <a:gd name="connsiteY7" fmla="*/ 4525 h 74736"/>
              <a:gd name="connsiteX8" fmla="*/ 90611 w 95136"/>
              <a:gd name="connsiteY8" fmla="*/ 4525 h 74736"/>
              <a:gd name="connsiteX9" fmla="*/ 90611 w 95136"/>
              <a:gd name="connsiteY9" fmla="*/ 70212 h 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136" h="74736">
                <a:moveTo>
                  <a:pt x="95137" y="0"/>
                </a:moveTo>
                <a:lnTo>
                  <a:pt x="0" y="0"/>
                </a:lnTo>
                <a:lnTo>
                  <a:pt x="0" y="74737"/>
                </a:lnTo>
                <a:lnTo>
                  <a:pt x="95137" y="74737"/>
                </a:lnTo>
                <a:lnTo>
                  <a:pt x="95137" y="0"/>
                </a:lnTo>
                <a:close/>
                <a:moveTo>
                  <a:pt x="90611" y="70212"/>
                </a:moveTo>
                <a:lnTo>
                  <a:pt x="4525" y="70212"/>
                </a:lnTo>
                <a:lnTo>
                  <a:pt x="4525" y="4525"/>
                </a:lnTo>
                <a:lnTo>
                  <a:pt x="90611" y="4525"/>
                </a:lnTo>
                <a:lnTo>
                  <a:pt x="90611" y="70212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9" name="Freihandform: Form 158">
            <a:extLst>
              <a:ext uri="{FF2B5EF4-FFF2-40B4-BE49-F238E27FC236}">
                <a16:creationId xmlns:a16="http://schemas.microsoft.com/office/drawing/2014/main" id="{5CA8CCF9-4D9C-65A9-73F5-D3AF2E2437EE}"/>
              </a:ext>
            </a:extLst>
          </p:cNvPr>
          <p:cNvSpPr/>
          <p:nvPr/>
        </p:nvSpPr>
        <p:spPr>
          <a:xfrm>
            <a:off x="9442139" y="5626097"/>
            <a:ext cx="10208" cy="205690"/>
          </a:xfrm>
          <a:custGeom>
            <a:avLst/>
            <a:gdLst>
              <a:gd name="connsiteX0" fmla="*/ 0 w 3709"/>
              <a:gd name="connsiteY0" fmla="*/ 0 h 74736"/>
              <a:gd name="connsiteX1" fmla="*/ 0 w 3709"/>
              <a:gd name="connsiteY1" fmla="*/ 74737 h 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09" h="74736">
                <a:moveTo>
                  <a:pt x="0" y="0"/>
                </a:moveTo>
                <a:lnTo>
                  <a:pt x="0" y="74737"/>
                </a:lnTo>
              </a:path>
            </a:pathLst>
          </a:custGeom>
          <a:ln w="4525" cap="flat">
            <a:solidFill>
              <a:srgbClr val="625A5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60" name="Freihandform: Form 159">
            <a:extLst>
              <a:ext uri="{FF2B5EF4-FFF2-40B4-BE49-F238E27FC236}">
                <a16:creationId xmlns:a16="http://schemas.microsoft.com/office/drawing/2014/main" id="{1C2B8AE5-660E-9CCD-0E37-EF653EF31C1B}"/>
              </a:ext>
            </a:extLst>
          </p:cNvPr>
          <p:cNvSpPr/>
          <p:nvPr/>
        </p:nvSpPr>
        <p:spPr>
          <a:xfrm>
            <a:off x="10358621" y="5626097"/>
            <a:ext cx="249382" cy="168328"/>
          </a:xfrm>
          <a:custGeom>
            <a:avLst/>
            <a:gdLst>
              <a:gd name="connsiteX0" fmla="*/ 0 w 90611"/>
              <a:gd name="connsiteY0" fmla="*/ 0 h 61161"/>
              <a:gd name="connsiteX1" fmla="*/ 90612 w 90611"/>
              <a:gd name="connsiteY1" fmla="*/ 0 h 61161"/>
              <a:gd name="connsiteX2" fmla="*/ 90612 w 90611"/>
              <a:gd name="connsiteY2" fmla="*/ 61162 h 61161"/>
              <a:gd name="connsiteX3" fmla="*/ 0 w 90611"/>
              <a:gd name="connsiteY3" fmla="*/ 61162 h 6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11" h="61161">
                <a:moveTo>
                  <a:pt x="0" y="0"/>
                </a:moveTo>
                <a:lnTo>
                  <a:pt x="90612" y="0"/>
                </a:lnTo>
                <a:lnTo>
                  <a:pt x="90612" y="61162"/>
                </a:lnTo>
                <a:lnTo>
                  <a:pt x="0" y="61162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61" name="Freihandform: Form 160">
            <a:extLst>
              <a:ext uri="{FF2B5EF4-FFF2-40B4-BE49-F238E27FC236}">
                <a16:creationId xmlns:a16="http://schemas.microsoft.com/office/drawing/2014/main" id="{E0B116C7-EE5E-F1DF-457A-0215472B62E2}"/>
              </a:ext>
            </a:extLst>
          </p:cNvPr>
          <p:cNvSpPr/>
          <p:nvPr/>
        </p:nvSpPr>
        <p:spPr>
          <a:xfrm>
            <a:off x="10358621" y="5626097"/>
            <a:ext cx="249382" cy="31133"/>
          </a:xfrm>
          <a:custGeom>
            <a:avLst/>
            <a:gdLst>
              <a:gd name="connsiteX0" fmla="*/ 0 w 90611"/>
              <a:gd name="connsiteY0" fmla="*/ 0 h 11312"/>
              <a:gd name="connsiteX1" fmla="*/ 90612 w 90611"/>
              <a:gd name="connsiteY1" fmla="*/ 0 h 11312"/>
              <a:gd name="connsiteX2" fmla="*/ 90612 w 90611"/>
              <a:gd name="connsiteY2" fmla="*/ 11312 h 11312"/>
              <a:gd name="connsiteX3" fmla="*/ 0 w 90611"/>
              <a:gd name="connsiteY3" fmla="*/ 11312 h 1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11" h="11312">
                <a:moveTo>
                  <a:pt x="0" y="0"/>
                </a:moveTo>
                <a:lnTo>
                  <a:pt x="90612" y="0"/>
                </a:lnTo>
                <a:lnTo>
                  <a:pt x="90612" y="11312"/>
                </a:lnTo>
                <a:lnTo>
                  <a:pt x="0" y="11312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62" name="Freihandform: Form 161">
            <a:extLst>
              <a:ext uri="{FF2B5EF4-FFF2-40B4-BE49-F238E27FC236}">
                <a16:creationId xmlns:a16="http://schemas.microsoft.com/office/drawing/2014/main" id="{2EEF4F58-EC7D-78FD-08E3-0BEB12485C88}"/>
              </a:ext>
            </a:extLst>
          </p:cNvPr>
          <p:cNvSpPr/>
          <p:nvPr/>
        </p:nvSpPr>
        <p:spPr>
          <a:xfrm>
            <a:off x="9710409" y="5407849"/>
            <a:ext cx="130967" cy="168328"/>
          </a:xfrm>
          <a:custGeom>
            <a:avLst/>
            <a:gdLst>
              <a:gd name="connsiteX0" fmla="*/ 0 w 47586"/>
              <a:gd name="connsiteY0" fmla="*/ 0 h 61161"/>
              <a:gd name="connsiteX1" fmla="*/ 47587 w 47586"/>
              <a:gd name="connsiteY1" fmla="*/ 0 h 61161"/>
              <a:gd name="connsiteX2" fmla="*/ 47587 w 47586"/>
              <a:gd name="connsiteY2" fmla="*/ 61162 h 61161"/>
              <a:gd name="connsiteX3" fmla="*/ 0 w 47586"/>
              <a:gd name="connsiteY3" fmla="*/ 61162 h 6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86" h="61161">
                <a:moveTo>
                  <a:pt x="0" y="0"/>
                </a:moveTo>
                <a:lnTo>
                  <a:pt x="47587" y="0"/>
                </a:lnTo>
                <a:lnTo>
                  <a:pt x="47587" y="61162"/>
                </a:lnTo>
                <a:lnTo>
                  <a:pt x="0" y="61162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63" name="Freihandform: Form 162">
            <a:extLst>
              <a:ext uri="{FF2B5EF4-FFF2-40B4-BE49-F238E27FC236}">
                <a16:creationId xmlns:a16="http://schemas.microsoft.com/office/drawing/2014/main" id="{8E7D58FA-67E6-C696-5667-D43861071B09}"/>
              </a:ext>
            </a:extLst>
          </p:cNvPr>
          <p:cNvSpPr/>
          <p:nvPr/>
        </p:nvSpPr>
        <p:spPr>
          <a:xfrm>
            <a:off x="9722863" y="5420302"/>
            <a:ext cx="105958" cy="18680"/>
          </a:xfrm>
          <a:custGeom>
            <a:avLst/>
            <a:gdLst>
              <a:gd name="connsiteX0" fmla="*/ 0 w 38499"/>
              <a:gd name="connsiteY0" fmla="*/ 0 h 6787"/>
              <a:gd name="connsiteX1" fmla="*/ 38500 w 38499"/>
              <a:gd name="connsiteY1" fmla="*/ 0 h 6787"/>
              <a:gd name="connsiteX2" fmla="*/ 38500 w 38499"/>
              <a:gd name="connsiteY2" fmla="*/ 6788 h 6787"/>
              <a:gd name="connsiteX3" fmla="*/ 0 w 38499"/>
              <a:gd name="connsiteY3" fmla="*/ 6788 h 6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99" h="6787">
                <a:moveTo>
                  <a:pt x="0" y="0"/>
                </a:moveTo>
                <a:lnTo>
                  <a:pt x="38500" y="0"/>
                </a:lnTo>
                <a:lnTo>
                  <a:pt x="38500" y="6788"/>
                </a:lnTo>
                <a:lnTo>
                  <a:pt x="0" y="6788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64" name="Freihandform: Form 163">
            <a:extLst>
              <a:ext uri="{FF2B5EF4-FFF2-40B4-BE49-F238E27FC236}">
                <a16:creationId xmlns:a16="http://schemas.microsoft.com/office/drawing/2014/main" id="{1245F73D-F15D-3A23-3B3F-3B72511269B8}"/>
              </a:ext>
            </a:extLst>
          </p:cNvPr>
          <p:cNvSpPr/>
          <p:nvPr/>
        </p:nvSpPr>
        <p:spPr>
          <a:xfrm>
            <a:off x="9722863" y="5420302"/>
            <a:ext cx="105958" cy="18680"/>
          </a:xfrm>
          <a:custGeom>
            <a:avLst/>
            <a:gdLst>
              <a:gd name="connsiteX0" fmla="*/ 0 w 38499"/>
              <a:gd name="connsiteY0" fmla="*/ 0 h 6787"/>
              <a:gd name="connsiteX1" fmla="*/ 38500 w 38499"/>
              <a:gd name="connsiteY1" fmla="*/ 0 h 6787"/>
              <a:gd name="connsiteX2" fmla="*/ 38500 w 38499"/>
              <a:gd name="connsiteY2" fmla="*/ 6788 h 6787"/>
              <a:gd name="connsiteX3" fmla="*/ 0 w 38499"/>
              <a:gd name="connsiteY3" fmla="*/ 6788 h 6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99" h="6787">
                <a:moveTo>
                  <a:pt x="0" y="0"/>
                </a:moveTo>
                <a:lnTo>
                  <a:pt x="38500" y="0"/>
                </a:lnTo>
                <a:lnTo>
                  <a:pt x="38500" y="6788"/>
                </a:lnTo>
                <a:lnTo>
                  <a:pt x="0" y="6788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165" name="Grafik 7">
            <a:extLst>
              <a:ext uri="{FF2B5EF4-FFF2-40B4-BE49-F238E27FC236}">
                <a16:creationId xmlns:a16="http://schemas.microsoft.com/office/drawing/2014/main" id="{36D44BE3-0DE3-ACC5-4AB9-BB1B6E0D28EE}"/>
              </a:ext>
            </a:extLst>
          </p:cNvPr>
          <p:cNvGrpSpPr/>
          <p:nvPr/>
        </p:nvGrpSpPr>
        <p:grpSpPr>
          <a:xfrm>
            <a:off x="10003279" y="5407849"/>
            <a:ext cx="604726" cy="386579"/>
            <a:chOff x="-966264" y="5587104"/>
            <a:chExt cx="219723" cy="140461"/>
          </a:xfrm>
        </p:grpSpPr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E362AA37-04B5-F744-1DE3-235270E2FB1A}"/>
                </a:ext>
              </a:extLst>
            </p:cNvPr>
            <p:cNvSpPr/>
            <p:nvPr/>
          </p:nvSpPr>
          <p:spPr>
            <a:xfrm>
              <a:off x="-966264" y="5673190"/>
              <a:ext cx="27187" cy="6824"/>
            </a:xfrm>
            <a:custGeom>
              <a:avLst/>
              <a:gdLst>
                <a:gd name="connsiteX0" fmla="*/ 18137 w 27187"/>
                <a:gd name="connsiteY0" fmla="*/ 6787 h 6824"/>
                <a:gd name="connsiteX1" fmla="*/ 26186 w 27187"/>
                <a:gd name="connsiteY1" fmla="*/ 6787 h 6824"/>
                <a:gd name="connsiteX2" fmla="*/ 27187 w 27187"/>
                <a:gd name="connsiteY2" fmla="*/ 5786 h 6824"/>
                <a:gd name="connsiteX3" fmla="*/ 27187 w 27187"/>
                <a:gd name="connsiteY3" fmla="*/ 1002 h 6824"/>
                <a:gd name="connsiteX4" fmla="*/ 26186 w 27187"/>
                <a:gd name="connsiteY4" fmla="*/ 0 h 6824"/>
                <a:gd name="connsiteX5" fmla="*/ 1446 w 27187"/>
                <a:gd name="connsiteY5" fmla="*/ 0 h 6824"/>
                <a:gd name="connsiteX6" fmla="*/ 0 w 27187"/>
                <a:gd name="connsiteY6" fmla="*/ 1447 h 6824"/>
                <a:gd name="connsiteX7" fmla="*/ 0 w 27187"/>
                <a:gd name="connsiteY7" fmla="*/ 5378 h 6824"/>
                <a:gd name="connsiteX8" fmla="*/ 1446 w 27187"/>
                <a:gd name="connsiteY8" fmla="*/ 6824 h 6824"/>
                <a:gd name="connsiteX9" fmla="*/ 18137 w 27187"/>
                <a:gd name="connsiteY9" fmla="*/ 6824 h 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87" h="6824">
                  <a:moveTo>
                    <a:pt x="18137" y="6787"/>
                  </a:moveTo>
                  <a:lnTo>
                    <a:pt x="26186" y="6787"/>
                  </a:lnTo>
                  <a:cubicBezTo>
                    <a:pt x="26742" y="6787"/>
                    <a:pt x="27187" y="6342"/>
                    <a:pt x="27187" y="5786"/>
                  </a:cubicBezTo>
                  <a:lnTo>
                    <a:pt x="27187" y="1002"/>
                  </a:lnTo>
                  <a:cubicBezTo>
                    <a:pt x="27187" y="445"/>
                    <a:pt x="26742" y="0"/>
                    <a:pt x="26186" y="0"/>
                  </a:cubicBezTo>
                  <a:lnTo>
                    <a:pt x="1446" y="0"/>
                  </a:lnTo>
                  <a:cubicBezTo>
                    <a:pt x="667" y="0"/>
                    <a:pt x="0" y="630"/>
                    <a:pt x="0" y="1447"/>
                  </a:cubicBezTo>
                  <a:lnTo>
                    <a:pt x="0" y="5378"/>
                  </a:lnTo>
                  <a:cubicBezTo>
                    <a:pt x="0" y="6157"/>
                    <a:pt x="630" y="6824"/>
                    <a:pt x="1446" y="6824"/>
                  </a:cubicBezTo>
                  <a:lnTo>
                    <a:pt x="18137" y="6824"/>
                  </a:lnTo>
                  <a:close/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CB1F0E39-29A3-E377-01AA-D4B4BC5E9031}"/>
                </a:ext>
              </a:extLst>
            </p:cNvPr>
            <p:cNvSpPr/>
            <p:nvPr/>
          </p:nvSpPr>
          <p:spPr>
            <a:xfrm>
              <a:off x="-957177" y="5664103"/>
              <a:ext cx="27187" cy="6824"/>
            </a:xfrm>
            <a:custGeom>
              <a:avLst/>
              <a:gdLst>
                <a:gd name="connsiteX0" fmla="*/ 25740 w 27187"/>
                <a:gd name="connsiteY0" fmla="*/ 37 h 6824"/>
                <a:gd name="connsiteX1" fmla="*/ 1002 w 27187"/>
                <a:gd name="connsiteY1" fmla="*/ 37 h 6824"/>
                <a:gd name="connsiteX2" fmla="*/ 0 w 27187"/>
                <a:gd name="connsiteY2" fmla="*/ 1039 h 6824"/>
                <a:gd name="connsiteX3" fmla="*/ 0 w 27187"/>
                <a:gd name="connsiteY3" fmla="*/ 5823 h 6824"/>
                <a:gd name="connsiteX4" fmla="*/ 1002 w 27187"/>
                <a:gd name="connsiteY4" fmla="*/ 6825 h 6824"/>
                <a:gd name="connsiteX5" fmla="*/ 25740 w 27187"/>
                <a:gd name="connsiteY5" fmla="*/ 6825 h 6824"/>
                <a:gd name="connsiteX6" fmla="*/ 27187 w 27187"/>
                <a:gd name="connsiteY6" fmla="*/ 5378 h 6824"/>
                <a:gd name="connsiteX7" fmla="*/ 27187 w 27187"/>
                <a:gd name="connsiteY7" fmla="*/ 1447 h 6824"/>
                <a:gd name="connsiteX8" fmla="*/ 25740 w 27187"/>
                <a:gd name="connsiteY8" fmla="*/ 0 h 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87" h="6824">
                  <a:moveTo>
                    <a:pt x="25740" y="37"/>
                  </a:moveTo>
                  <a:lnTo>
                    <a:pt x="1002" y="37"/>
                  </a:lnTo>
                  <a:cubicBezTo>
                    <a:pt x="445" y="37"/>
                    <a:pt x="0" y="482"/>
                    <a:pt x="0" y="1039"/>
                  </a:cubicBezTo>
                  <a:lnTo>
                    <a:pt x="0" y="5823"/>
                  </a:lnTo>
                  <a:cubicBezTo>
                    <a:pt x="0" y="6380"/>
                    <a:pt x="445" y="6825"/>
                    <a:pt x="1002" y="6825"/>
                  </a:cubicBezTo>
                  <a:lnTo>
                    <a:pt x="25740" y="6825"/>
                  </a:lnTo>
                  <a:cubicBezTo>
                    <a:pt x="26520" y="6825"/>
                    <a:pt x="27187" y="6194"/>
                    <a:pt x="27187" y="5378"/>
                  </a:cubicBezTo>
                  <a:lnTo>
                    <a:pt x="27187" y="1447"/>
                  </a:lnTo>
                  <a:cubicBezTo>
                    <a:pt x="27187" y="668"/>
                    <a:pt x="26557" y="0"/>
                    <a:pt x="25740" y="0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53127545-0AF5-424D-3D1A-60C3DC84307D}"/>
                </a:ext>
              </a:extLst>
            </p:cNvPr>
            <p:cNvSpPr/>
            <p:nvPr/>
          </p:nvSpPr>
          <p:spPr>
            <a:xfrm>
              <a:off x="-957177" y="5682204"/>
              <a:ext cx="27187" cy="6824"/>
            </a:xfrm>
            <a:custGeom>
              <a:avLst/>
              <a:gdLst>
                <a:gd name="connsiteX0" fmla="*/ 25740 w 27187"/>
                <a:gd name="connsiteY0" fmla="*/ 37 h 6824"/>
                <a:gd name="connsiteX1" fmla="*/ 1002 w 27187"/>
                <a:gd name="connsiteY1" fmla="*/ 37 h 6824"/>
                <a:gd name="connsiteX2" fmla="*/ 0 w 27187"/>
                <a:gd name="connsiteY2" fmla="*/ 1038 h 6824"/>
                <a:gd name="connsiteX3" fmla="*/ 0 w 27187"/>
                <a:gd name="connsiteY3" fmla="*/ 5823 h 6824"/>
                <a:gd name="connsiteX4" fmla="*/ 1002 w 27187"/>
                <a:gd name="connsiteY4" fmla="*/ 6824 h 6824"/>
                <a:gd name="connsiteX5" fmla="*/ 25740 w 27187"/>
                <a:gd name="connsiteY5" fmla="*/ 6824 h 6824"/>
                <a:gd name="connsiteX6" fmla="*/ 27187 w 27187"/>
                <a:gd name="connsiteY6" fmla="*/ 5378 h 6824"/>
                <a:gd name="connsiteX7" fmla="*/ 27187 w 27187"/>
                <a:gd name="connsiteY7" fmla="*/ 1446 h 6824"/>
                <a:gd name="connsiteX8" fmla="*/ 25740 w 27187"/>
                <a:gd name="connsiteY8" fmla="*/ 0 h 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87" h="6824">
                  <a:moveTo>
                    <a:pt x="25740" y="37"/>
                  </a:moveTo>
                  <a:lnTo>
                    <a:pt x="1002" y="37"/>
                  </a:lnTo>
                  <a:cubicBezTo>
                    <a:pt x="445" y="37"/>
                    <a:pt x="0" y="482"/>
                    <a:pt x="0" y="1038"/>
                  </a:cubicBezTo>
                  <a:lnTo>
                    <a:pt x="0" y="5823"/>
                  </a:lnTo>
                  <a:cubicBezTo>
                    <a:pt x="0" y="6379"/>
                    <a:pt x="445" y="6824"/>
                    <a:pt x="1002" y="6824"/>
                  </a:cubicBezTo>
                  <a:lnTo>
                    <a:pt x="25740" y="6824"/>
                  </a:lnTo>
                  <a:cubicBezTo>
                    <a:pt x="26520" y="6824"/>
                    <a:pt x="27187" y="6194"/>
                    <a:pt x="27187" y="5378"/>
                  </a:cubicBezTo>
                  <a:lnTo>
                    <a:pt x="27187" y="1446"/>
                  </a:lnTo>
                  <a:cubicBezTo>
                    <a:pt x="27187" y="667"/>
                    <a:pt x="26557" y="0"/>
                    <a:pt x="25740" y="0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AEF89B8F-CE41-2644-3AFC-CBB0D4930065}"/>
                </a:ext>
              </a:extLst>
            </p:cNvPr>
            <p:cNvSpPr/>
            <p:nvPr/>
          </p:nvSpPr>
          <p:spPr>
            <a:xfrm>
              <a:off x="-889228" y="5587104"/>
              <a:ext cx="88349" cy="38499"/>
            </a:xfrm>
            <a:custGeom>
              <a:avLst/>
              <a:gdLst>
                <a:gd name="connsiteX0" fmla="*/ 81525 w 88349"/>
                <a:gd name="connsiteY0" fmla="*/ 38500 h 38499"/>
                <a:gd name="connsiteX1" fmla="*/ 6788 w 88349"/>
                <a:gd name="connsiteY1" fmla="*/ 38500 h 38499"/>
                <a:gd name="connsiteX2" fmla="*/ 0 w 88349"/>
                <a:gd name="connsiteY2" fmla="*/ 31712 h 38499"/>
                <a:gd name="connsiteX3" fmla="*/ 0 w 88349"/>
                <a:gd name="connsiteY3" fmla="*/ 0 h 38499"/>
                <a:gd name="connsiteX4" fmla="*/ 88349 w 88349"/>
                <a:gd name="connsiteY4" fmla="*/ 0 h 38499"/>
                <a:gd name="connsiteX5" fmla="*/ 88349 w 88349"/>
                <a:gd name="connsiteY5" fmla="*/ 31712 h 38499"/>
                <a:gd name="connsiteX6" fmla="*/ 81562 w 88349"/>
                <a:gd name="connsiteY6" fmla="*/ 38500 h 3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49" h="38499">
                  <a:moveTo>
                    <a:pt x="81525" y="38500"/>
                  </a:moveTo>
                  <a:lnTo>
                    <a:pt x="6788" y="38500"/>
                  </a:lnTo>
                  <a:cubicBezTo>
                    <a:pt x="3042" y="38500"/>
                    <a:pt x="0" y="35458"/>
                    <a:pt x="0" y="31712"/>
                  </a:cubicBezTo>
                  <a:lnTo>
                    <a:pt x="0" y="0"/>
                  </a:lnTo>
                  <a:lnTo>
                    <a:pt x="88349" y="0"/>
                  </a:lnTo>
                  <a:lnTo>
                    <a:pt x="88349" y="31712"/>
                  </a:lnTo>
                  <a:cubicBezTo>
                    <a:pt x="88349" y="35458"/>
                    <a:pt x="85308" y="38500"/>
                    <a:pt x="81562" y="38500"/>
                  </a:cubicBezTo>
                </a:path>
              </a:pathLst>
            </a:custGeom>
            <a:solidFill>
              <a:srgbClr val="968F8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082589E0-8079-BDDB-D356-72FABC26FAA6}"/>
                </a:ext>
              </a:extLst>
            </p:cNvPr>
            <p:cNvSpPr/>
            <p:nvPr/>
          </p:nvSpPr>
          <p:spPr>
            <a:xfrm>
              <a:off x="-889264" y="5587104"/>
              <a:ext cx="15911" cy="38499"/>
            </a:xfrm>
            <a:custGeom>
              <a:avLst/>
              <a:gdLst>
                <a:gd name="connsiteX0" fmla="*/ 6824 w 15911"/>
                <a:gd name="connsiteY0" fmla="*/ 38500 h 38499"/>
                <a:gd name="connsiteX1" fmla="*/ 15911 w 15911"/>
                <a:gd name="connsiteY1" fmla="*/ 38500 h 38499"/>
                <a:gd name="connsiteX2" fmla="*/ 15911 w 15911"/>
                <a:gd name="connsiteY2" fmla="*/ 0 h 38499"/>
                <a:gd name="connsiteX3" fmla="*/ 0 w 15911"/>
                <a:gd name="connsiteY3" fmla="*/ 0 h 38499"/>
                <a:gd name="connsiteX4" fmla="*/ 0 w 15911"/>
                <a:gd name="connsiteY4" fmla="*/ 31712 h 38499"/>
                <a:gd name="connsiteX5" fmla="*/ 6787 w 15911"/>
                <a:gd name="connsiteY5" fmla="*/ 38500 h 3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11" h="38499">
                  <a:moveTo>
                    <a:pt x="6824" y="38500"/>
                  </a:moveTo>
                  <a:lnTo>
                    <a:pt x="15911" y="38500"/>
                  </a:lnTo>
                  <a:lnTo>
                    <a:pt x="15911" y="0"/>
                  </a:lnTo>
                  <a:lnTo>
                    <a:pt x="0" y="0"/>
                  </a:lnTo>
                  <a:lnTo>
                    <a:pt x="0" y="31712"/>
                  </a:lnTo>
                  <a:cubicBezTo>
                    <a:pt x="0" y="35458"/>
                    <a:pt x="3041" y="38500"/>
                    <a:pt x="6787" y="38500"/>
                  </a:cubicBezTo>
                </a:path>
              </a:pathLst>
            </a:custGeom>
            <a:solidFill>
              <a:srgbClr val="C3BCB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04009F36-61F9-0F51-FDF9-A09F6EF80B3B}"/>
                </a:ext>
              </a:extLst>
            </p:cNvPr>
            <p:cNvSpPr/>
            <p:nvPr/>
          </p:nvSpPr>
          <p:spPr>
            <a:xfrm>
              <a:off x="-778105" y="5666403"/>
              <a:ext cx="31563" cy="61162"/>
            </a:xfrm>
            <a:custGeom>
              <a:avLst/>
              <a:gdLst>
                <a:gd name="connsiteX0" fmla="*/ 31564 w 31563"/>
                <a:gd name="connsiteY0" fmla="*/ 0 h 61162"/>
                <a:gd name="connsiteX1" fmla="*/ 31564 w 31563"/>
                <a:gd name="connsiteY1" fmla="*/ 61162 h 61162"/>
                <a:gd name="connsiteX2" fmla="*/ 0 w 31563"/>
                <a:gd name="connsiteY2" fmla="*/ 61162 h 61162"/>
                <a:gd name="connsiteX3" fmla="*/ 14317 w 31563"/>
                <a:gd name="connsiteY3" fmla="*/ 40911 h 61162"/>
                <a:gd name="connsiteX4" fmla="*/ 17247 w 31563"/>
                <a:gd name="connsiteY4" fmla="*/ 27447 h 61162"/>
                <a:gd name="connsiteX5" fmla="*/ 14762 w 31563"/>
                <a:gd name="connsiteY5" fmla="*/ 15652 h 61162"/>
                <a:gd name="connsiteX6" fmla="*/ 23330 w 31563"/>
                <a:gd name="connsiteY6" fmla="*/ 0 h 61162"/>
                <a:gd name="connsiteX7" fmla="*/ 31564 w 31563"/>
                <a:gd name="connsiteY7" fmla="*/ 0 h 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63" h="61162">
                  <a:moveTo>
                    <a:pt x="31564" y="0"/>
                  </a:moveTo>
                  <a:lnTo>
                    <a:pt x="31564" y="61162"/>
                  </a:lnTo>
                  <a:lnTo>
                    <a:pt x="0" y="61162"/>
                  </a:lnTo>
                  <a:cubicBezTo>
                    <a:pt x="2485" y="52780"/>
                    <a:pt x="7603" y="45658"/>
                    <a:pt x="14317" y="40911"/>
                  </a:cubicBezTo>
                  <a:cubicBezTo>
                    <a:pt x="18471" y="37981"/>
                    <a:pt x="19732" y="32083"/>
                    <a:pt x="17247" y="27447"/>
                  </a:cubicBezTo>
                  <a:cubicBezTo>
                    <a:pt x="15393" y="23998"/>
                    <a:pt x="14465" y="19955"/>
                    <a:pt x="14762" y="15652"/>
                  </a:cubicBezTo>
                  <a:cubicBezTo>
                    <a:pt x="15207" y="9161"/>
                    <a:pt x="18508" y="3449"/>
                    <a:pt x="23330" y="0"/>
                  </a:cubicBezTo>
                  <a:lnTo>
                    <a:pt x="31564" y="0"/>
                  </a:lnTo>
                  <a:close/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172" name="Freihandform: Form 171">
            <a:extLst>
              <a:ext uri="{FF2B5EF4-FFF2-40B4-BE49-F238E27FC236}">
                <a16:creationId xmlns:a16="http://schemas.microsoft.com/office/drawing/2014/main" id="{0807BAE8-230C-FD5B-59B3-CA705C6A2438}"/>
              </a:ext>
            </a:extLst>
          </p:cNvPr>
          <p:cNvSpPr/>
          <p:nvPr/>
        </p:nvSpPr>
        <p:spPr>
          <a:xfrm>
            <a:off x="10352395" y="5619869"/>
            <a:ext cx="268063" cy="180785"/>
          </a:xfrm>
          <a:custGeom>
            <a:avLst/>
            <a:gdLst>
              <a:gd name="connsiteX0" fmla="*/ 97399 w 97399"/>
              <a:gd name="connsiteY0" fmla="*/ 61162 h 65687"/>
              <a:gd name="connsiteX1" fmla="*/ 4525 w 97399"/>
              <a:gd name="connsiteY1" fmla="*/ 61162 h 65687"/>
              <a:gd name="connsiteX2" fmla="*/ 4525 w 97399"/>
              <a:gd name="connsiteY2" fmla="*/ 4525 h 65687"/>
              <a:gd name="connsiteX3" fmla="*/ 97399 w 97399"/>
              <a:gd name="connsiteY3" fmla="*/ 4525 h 65687"/>
              <a:gd name="connsiteX4" fmla="*/ 97399 w 97399"/>
              <a:gd name="connsiteY4" fmla="*/ 0 h 65687"/>
              <a:gd name="connsiteX5" fmla="*/ 0 w 97399"/>
              <a:gd name="connsiteY5" fmla="*/ 0 h 65687"/>
              <a:gd name="connsiteX6" fmla="*/ 0 w 97399"/>
              <a:gd name="connsiteY6" fmla="*/ 65687 h 65687"/>
              <a:gd name="connsiteX7" fmla="*/ 97399 w 97399"/>
              <a:gd name="connsiteY7" fmla="*/ 65687 h 65687"/>
              <a:gd name="connsiteX8" fmla="*/ 97399 w 97399"/>
              <a:gd name="connsiteY8" fmla="*/ 61162 h 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399" h="65687">
                <a:moveTo>
                  <a:pt x="97399" y="61162"/>
                </a:moveTo>
                <a:lnTo>
                  <a:pt x="4525" y="61162"/>
                </a:lnTo>
                <a:lnTo>
                  <a:pt x="4525" y="4525"/>
                </a:lnTo>
                <a:lnTo>
                  <a:pt x="97399" y="4525"/>
                </a:lnTo>
                <a:lnTo>
                  <a:pt x="97399" y="0"/>
                </a:lnTo>
                <a:lnTo>
                  <a:pt x="0" y="0"/>
                </a:lnTo>
                <a:lnTo>
                  <a:pt x="0" y="65687"/>
                </a:lnTo>
                <a:lnTo>
                  <a:pt x="97399" y="65687"/>
                </a:lnTo>
                <a:lnTo>
                  <a:pt x="97399" y="61162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73" name="Freihandform: Form 172">
            <a:extLst>
              <a:ext uri="{FF2B5EF4-FFF2-40B4-BE49-F238E27FC236}">
                <a16:creationId xmlns:a16="http://schemas.microsoft.com/office/drawing/2014/main" id="{691FA135-B600-D8CE-795B-792F8AA36F11}"/>
              </a:ext>
            </a:extLst>
          </p:cNvPr>
          <p:cNvSpPr/>
          <p:nvPr/>
        </p:nvSpPr>
        <p:spPr>
          <a:xfrm>
            <a:off x="10489591" y="5626097"/>
            <a:ext cx="10208" cy="168328"/>
          </a:xfrm>
          <a:custGeom>
            <a:avLst/>
            <a:gdLst>
              <a:gd name="connsiteX0" fmla="*/ 0 w 3709"/>
              <a:gd name="connsiteY0" fmla="*/ 0 h 61161"/>
              <a:gd name="connsiteX1" fmla="*/ 0 w 3709"/>
              <a:gd name="connsiteY1" fmla="*/ 61162 h 6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09" h="61161">
                <a:moveTo>
                  <a:pt x="0" y="0"/>
                </a:moveTo>
                <a:lnTo>
                  <a:pt x="0" y="61162"/>
                </a:lnTo>
              </a:path>
            </a:pathLst>
          </a:custGeom>
          <a:ln w="4525" cap="flat">
            <a:solidFill>
              <a:srgbClr val="625A5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74" name="Freihandform: Form 173">
            <a:extLst>
              <a:ext uri="{FF2B5EF4-FFF2-40B4-BE49-F238E27FC236}">
                <a16:creationId xmlns:a16="http://schemas.microsoft.com/office/drawing/2014/main" id="{3C48983B-0382-7412-B57B-A636CF0727F9}"/>
              </a:ext>
            </a:extLst>
          </p:cNvPr>
          <p:cNvSpPr/>
          <p:nvPr/>
        </p:nvSpPr>
        <p:spPr>
          <a:xfrm>
            <a:off x="9710305" y="5407849"/>
            <a:ext cx="130970" cy="168331"/>
          </a:xfrm>
          <a:custGeom>
            <a:avLst/>
            <a:gdLst>
              <a:gd name="connsiteX0" fmla="*/ 47587 w 47587"/>
              <a:gd name="connsiteY0" fmla="*/ 0 h 61162"/>
              <a:gd name="connsiteX1" fmla="*/ 0 w 47587"/>
              <a:gd name="connsiteY1" fmla="*/ 0 h 61162"/>
              <a:gd name="connsiteX2" fmla="*/ 0 w 47587"/>
              <a:gd name="connsiteY2" fmla="*/ 61162 h 61162"/>
              <a:gd name="connsiteX3" fmla="*/ 47587 w 47587"/>
              <a:gd name="connsiteY3" fmla="*/ 61162 h 61162"/>
              <a:gd name="connsiteX4" fmla="*/ 47587 w 47587"/>
              <a:gd name="connsiteY4" fmla="*/ 0 h 61162"/>
              <a:gd name="connsiteX5" fmla="*/ 43062 w 47587"/>
              <a:gd name="connsiteY5" fmla="*/ 56637 h 61162"/>
              <a:gd name="connsiteX6" fmla="*/ 4562 w 47587"/>
              <a:gd name="connsiteY6" fmla="*/ 56637 h 61162"/>
              <a:gd name="connsiteX7" fmla="*/ 4562 w 47587"/>
              <a:gd name="connsiteY7" fmla="*/ 4525 h 61162"/>
              <a:gd name="connsiteX8" fmla="*/ 43062 w 47587"/>
              <a:gd name="connsiteY8" fmla="*/ 4525 h 61162"/>
              <a:gd name="connsiteX9" fmla="*/ 43062 w 47587"/>
              <a:gd name="connsiteY9" fmla="*/ 56637 h 61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587" h="61162">
                <a:moveTo>
                  <a:pt x="47587" y="0"/>
                </a:moveTo>
                <a:lnTo>
                  <a:pt x="0" y="0"/>
                </a:lnTo>
                <a:lnTo>
                  <a:pt x="0" y="61162"/>
                </a:lnTo>
                <a:lnTo>
                  <a:pt x="47587" y="61162"/>
                </a:lnTo>
                <a:lnTo>
                  <a:pt x="47587" y="0"/>
                </a:lnTo>
                <a:close/>
                <a:moveTo>
                  <a:pt x="43062" y="56637"/>
                </a:moveTo>
                <a:lnTo>
                  <a:pt x="4562" y="56637"/>
                </a:lnTo>
                <a:lnTo>
                  <a:pt x="4562" y="4525"/>
                </a:lnTo>
                <a:lnTo>
                  <a:pt x="43062" y="4525"/>
                </a:lnTo>
                <a:lnTo>
                  <a:pt x="43062" y="56637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88" name="Freihandform: Form 187">
            <a:extLst>
              <a:ext uri="{FF2B5EF4-FFF2-40B4-BE49-F238E27FC236}">
                <a16:creationId xmlns:a16="http://schemas.microsoft.com/office/drawing/2014/main" id="{B867D640-962B-3740-3D91-B0179F93BDF8}"/>
              </a:ext>
            </a:extLst>
          </p:cNvPr>
          <p:cNvSpPr/>
          <p:nvPr/>
        </p:nvSpPr>
        <p:spPr>
          <a:xfrm>
            <a:off x="10775213" y="5756965"/>
            <a:ext cx="76456" cy="76355"/>
          </a:xfrm>
          <a:custGeom>
            <a:avLst/>
            <a:gdLst>
              <a:gd name="connsiteX0" fmla="*/ 3375 w 27780"/>
              <a:gd name="connsiteY0" fmla="*/ 18249 h 27743"/>
              <a:gd name="connsiteX1" fmla="*/ 4080 w 27780"/>
              <a:gd name="connsiteY1" fmla="*/ 23701 h 27743"/>
              <a:gd name="connsiteX2" fmla="*/ 9532 w 27780"/>
              <a:gd name="connsiteY2" fmla="*/ 24405 h 27743"/>
              <a:gd name="connsiteX3" fmla="*/ 13909 w 27780"/>
              <a:gd name="connsiteY3" fmla="*/ 27743 h 27743"/>
              <a:gd name="connsiteX4" fmla="*/ 18248 w 27780"/>
              <a:gd name="connsiteY4" fmla="*/ 24405 h 27743"/>
              <a:gd name="connsiteX5" fmla="*/ 23701 w 27780"/>
              <a:gd name="connsiteY5" fmla="*/ 23701 h 27743"/>
              <a:gd name="connsiteX6" fmla="*/ 24405 w 27780"/>
              <a:gd name="connsiteY6" fmla="*/ 18249 h 27743"/>
              <a:gd name="connsiteX7" fmla="*/ 27781 w 27780"/>
              <a:gd name="connsiteY7" fmla="*/ 13909 h 27743"/>
              <a:gd name="connsiteX8" fmla="*/ 24405 w 27780"/>
              <a:gd name="connsiteY8" fmla="*/ 9532 h 27743"/>
              <a:gd name="connsiteX9" fmla="*/ 23701 w 27780"/>
              <a:gd name="connsiteY9" fmla="*/ 4080 h 27743"/>
              <a:gd name="connsiteX10" fmla="*/ 18248 w 27780"/>
              <a:gd name="connsiteY10" fmla="*/ 3375 h 27743"/>
              <a:gd name="connsiteX11" fmla="*/ 13909 w 27780"/>
              <a:gd name="connsiteY11" fmla="*/ 0 h 27743"/>
              <a:gd name="connsiteX12" fmla="*/ 9532 w 27780"/>
              <a:gd name="connsiteY12" fmla="*/ 3375 h 27743"/>
              <a:gd name="connsiteX13" fmla="*/ 4080 w 27780"/>
              <a:gd name="connsiteY13" fmla="*/ 4080 h 27743"/>
              <a:gd name="connsiteX14" fmla="*/ 3375 w 27780"/>
              <a:gd name="connsiteY14" fmla="*/ 9532 h 27743"/>
              <a:gd name="connsiteX15" fmla="*/ 0 w 27780"/>
              <a:gd name="connsiteY15" fmla="*/ 13909 h 27743"/>
              <a:gd name="connsiteX16" fmla="*/ 3375 w 27780"/>
              <a:gd name="connsiteY16" fmla="*/ 18249 h 27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780" h="27743">
                <a:moveTo>
                  <a:pt x="3375" y="18249"/>
                </a:moveTo>
                <a:cubicBezTo>
                  <a:pt x="2374" y="19992"/>
                  <a:pt x="2596" y="22217"/>
                  <a:pt x="4080" y="23701"/>
                </a:cubicBezTo>
                <a:cubicBezTo>
                  <a:pt x="5564" y="25184"/>
                  <a:pt x="7789" y="25407"/>
                  <a:pt x="9532" y="24405"/>
                </a:cubicBezTo>
                <a:cubicBezTo>
                  <a:pt x="10051" y="26334"/>
                  <a:pt x="11794" y="27743"/>
                  <a:pt x="13909" y="27743"/>
                </a:cubicBezTo>
                <a:cubicBezTo>
                  <a:pt x="16023" y="27743"/>
                  <a:pt x="17766" y="26334"/>
                  <a:pt x="18248" y="24405"/>
                </a:cubicBezTo>
                <a:cubicBezTo>
                  <a:pt x="19955" y="25407"/>
                  <a:pt x="22217" y="25184"/>
                  <a:pt x="23701" y="23701"/>
                </a:cubicBezTo>
                <a:cubicBezTo>
                  <a:pt x="25184" y="22217"/>
                  <a:pt x="25407" y="19992"/>
                  <a:pt x="24405" y="18249"/>
                </a:cubicBezTo>
                <a:cubicBezTo>
                  <a:pt x="26334" y="17729"/>
                  <a:pt x="27781" y="15986"/>
                  <a:pt x="27781" y="13909"/>
                </a:cubicBezTo>
                <a:cubicBezTo>
                  <a:pt x="27781" y="11832"/>
                  <a:pt x="26334" y="10051"/>
                  <a:pt x="24405" y="9532"/>
                </a:cubicBezTo>
                <a:cubicBezTo>
                  <a:pt x="25407" y="7826"/>
                  <a:pt x="25184" y="5564"/>
                  <a:pt x="23701" y="4080"/>
                </a:cubicBezTo>
                <a:cubicBezTo>
                  <a:pt x="22217" y="2597"/>
                  <a:pt x="19992" y="2374"/>
                  <a:pt x="18248" y="3375"/>
                </a:cubicBezTo>
                <a:cubicBezTo>
                  <a:pt x="17729" y="1447"/>
                  <a:pt x="15986" y="0"/>
                  <a:pt x="13909" y="0"/>
                </a:cubicBezTo>
                <a:cubicBezTo>
                  <a:pt x="11832" y="0"/>
                  <a:pt x="10051" y="1409"/>
                  <a:pt x="9532" y="3375"/>
                </a:cubicBezTo>
                <a:cubicBezTo>
                  <a:pt x="7826" y="2374"/>
                  <a:pt x="5564" y="2597"/>
                  <a:pt x="4080" y="4080"/>
                </a:cubicBezTo>
                <a:cubicBezTo>
                  <a:pt x="2596" y="5564"/>
                  <a:pt x="2374" y="7789"/>
                  <a:pt x="3375" y="9532"/>
                </a:cubicBezTo>
                <a:cubicBezTo>
                  <a:pt x="1447" y="10051"/>
                  <a:pt x="0" y="11795"/>
                  <a:pt x="0" y="13909"/>
                </a:cubicBezTo>
                <a:cubicBezTo>
                  <a:pt x="0" y="16023"/>
                  <a:pt x="1409" y="17766"/>
                  <a:pt x="3375" y="18249"/>
                </a:cubicBezTo>
              </a:path>
            </a:pathLst>
          </a:custGeom>
          <a:solidFill>
            <a:srgbClr val="FE7E5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89" name="Freihandform: Form 188">
            <a:extLst>
              <a:ext uri="{FF2B5EF4-FFF2-40B4-BE49-F238E27FC236}">
                <a16:creationId xmlns:a16="http://schemas.microsoft.com/office/drawing/2014/main" id="{00A542F0-F730-AA5F-EAD4-BEAF603C4AD2}"/>
              </a:ext>
            </a:extLst>
          </p:cNvPr>
          <p:cNvSpPr/>
          <p:nvPr/>
        </p:nvSpPr>
        <p:spPr>
          <a:xfrm>
            <a:off x="10762724" y="5797860"/>
            <a:ext cx="49479" cy="127637"/>
          </a:xfrm>
          <a:custGeom>
            <a:avLst/>
            <a:gdLst>
              <a:gd name="connsiteX0" fmla="*/ 755 w 17978"/>
              <a:gd name="connsiteY0" fmla="*/ 46340 h 46376"/>
              <a:gd name="connsiteX1" fmla="*/ 606 w 17978"/>
              <a:gd name="connsiteY1" fmla="*/ 46340 h 46376"/>
              <a:gd name="connsiteX2" fmla="*/ 13 w 17978"/>
              <a:gd name="connsiteY2" fmla="*/ 45450 h 46376"/>
              <a:gd name="connsiteX3" fmla="*/ 16555 w 17978"/>
              <a:gd name="connsiteY3" fmla="*/ 385 h 46376"/>
              <a:gd name="connsiteX4" fmla="*/ 17593 w 17978"/>
              <a:gd name="connsiteY4" fmla="*/ 88 h 46376"/>
              <a:gd name="connsiteX5" fmla="*/ 17890 w 17978"/>
              <a:gd name="connsiteY5" fmla="*/ 1127 h 46376"/>
              <a:gd name="connsiteX6" fmla="*/ 1533 w 17978"/>
              <a:gd name="connsiteY6" fmla="*/ 45746 h 46376"/>
              <a:gd name="connsiteX7" fmla="*/ 792 w 17978"/>
              <a:gd name="connsiteY7" fmla="*/ 46377 h 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78" h="46376">
                <a:moveTo>
                  <a:pt x="755" y="46340"/>
                </a:moveTo>
                <a:cubicBezTo>
                  <a:pt x="755" y="46340"/>
                  <a:pt x="643" y="46340"/>
                  <a:pt x="606" y="46340"/>
                </a:cubicBezTo>
                <a:cubicBezTo>
                  <a:pt x="198" y="46265"/>
                  <a:pt x="-61" y="45858"/>
                  <a:pt x="13" y="45450"/>
                </a:cubicBezTo>
                <a:cubicBezTo>
                  <a:pt x="4983" y="20599"/>
                  <a:pt x="16444" y="570"/>
                  <a:pt x="16555" y="385"/>
                </a:cubicBezTo>
                <a:cubicBezTo>
                  <a:pt x="16777" y="14"/>
                  <a:pt x="17222" y="-97"/>
                  <a:pt x="17593" y="88"/>
                </a:cubicBezTo>
                <a:cubicBezTo>
                  <a:pt x="17965" y="311"/>
                  <a:pt x="18075" y="756"/>
                  <a:pt x="17890" y="1127"/>
                </a:cubicBezTo>
                <a:cubicBezTo>
                  <a:pt x="17779" y="1312"/>
                  <a:pt x="6430" y="21119"/>
                  <a:pt x="1533" y="45746"/>
                </a:cubicBezTo>
                <a:cubicBezTo>
                  <a:pt x="1459" y="46117"/>
                  <a:pt x="1125" y="46377"/>
                  <a:pt x="792" y="46377"/>
                </a:cubicBezTo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0" name="Freihandform: Form 189">
            <a:extLst>
              <a:ext uri="{FF2B5EF4-FFF2-40B4-BE49-F238E27FC236}">
                <a16:creationId xmlns:a16="http://schemas.microsoft.com/office/drawing/2014/main" id="{EB3B312D-C287-8BD9-836B-50C4CADEB580}"/>
              </a:ext>
            </a:extLst>
          </p:cNvPr>
          <p:cNvSpPr/>
          <p:nvPr/>
        </p:nvSpPr>
        <p:spPr>
          <a:xfrm>
            <a:off x="10741628" y="5845171"/>
            <a:ext cx="82616" cy="86351"/>
          </a:xfrm>
          <a:custGeom>
            <a:avLst/>
            <a:gdLst>
              <a:gd name="connsiteX0" fmla="*/ 17247 w 30018"/>
              <a:gd name="connsiteY0" fmla="*/ 31375 h 31375"/>
              <a:gd name="connsiteX1" fmla="*/ 18731 w 30018"/>
              <a:gd name="connsiteY1" fmla="*/ 29410 h 31375"/>
              <a:gd name="connsiteX2" fmla="*/ 29339 w 30018"/>
              <a:gd name="connsiteY2" fmla="*/ 5375 h 31375"/>
              <a:gd name="connsiteX3" fmla="*/ 9495 w 30018"/>
              <a:gd name="connsiteY3" fmla="*/ 22585 h 31375"/>
              <a:gd name="connsiteX4" fmla="*/ 8679 w 30018"/>
              <a:gd name="connsiteY4" fmla="*/ 23698 h 31375"/>
              <a:gd name="connsiteX5" fmla="*/ 11349 w 30018"/>
              <a:gd name="connsiteY5" fmla="*/ 34 h 31375"/>
              <a:gd name="connsiteX6" fmla="*/ 0 w 30018"/>
              <a:gd name="connsiteY6" fmla="*/ 31375 h 31375"/>
              <a:gd name="connsiteX7" fmla="*/ 17247 w 30018"/>
              <a:gd name="connsiteY7" fmla="*/ 31375 h 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18" h="31375">
                <a:moveTo>
                  <a:pt x="17247" y="31375"/>
                </a:moveTo>
                <a:cubicBezTo>
                  <a:pt x="17729" y="30745"/>
                  <a:pt x="18249" y="30077"/>
                  <a:pt x="18731" y="29410"/>
                </a:cubicBezTo>
                <a:cubicBezTo>
                  <a:pt x="27150" y="18023"/>
                  <a:pt x="31860" y="7267"/>
                  <a:pt x="29339" y="5375"/>
                </a:cubicBezTo>
                <a:cubicBezTo>
                  <a:pt x="26779" y="3483"/>
                  <a:pt x="17914" y="11198"/>
                  <a:pt x="9495" y="22585"/>
                </a:cubicBezTo>
                <a:cubicBezTo>
                  <a:pt x="9235" y="22956"/>
                  <a:pt x="8939" y="23327"/>
                  <a:pt x="8679" y="23698"/>
                </a:cubicBezTo>
                <a:cubicBezTo>
                  <a:pt x="12017" y="11087"/>
                  <a:pt x="13204" y="516"/>
                  <a:pt x="11349" y="34"/>
                </a:cubicBezTo>
                <a:cubicBezTo>
                  <a:pt x="7604" y="-967"/>
                  <a:pt x="2448" y="20285"/>
                  <a:pt x="0" y="31375"/>
                </a:cubicBezTo>
                <a:lnTo>
                  <a:pt x="17247" y="31375"/>
                </a:lnTo>
                <a:close/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1" name="Freihandform: Form 190">
            <a:extLst>
              <a:ext uri="{FF2B5EF4-FFF2-40B4-BE49-F238E27FC236}">
                <a16:creationId xmlns:a16="http://schemas.microsoft.com/office/drawing/2014/main" id="{8B9518B6-8467-B0BD-4B49-034320927AB7}"/>
              </a:ext>
            </a:extLst>
          </p:cNvPr>
          <p:cNvSpPr/>
          <p:nvPr/>
        </p:nvSpPr>
        <p:spPr>
          <a:xfrm>
            <a:off x="7470859" y="5757169"/>
            <a:ext cx="76559" cy="76355"/>
          </a:xfrm>
          <a:custGeom>
            <a:avLst/>
            <a:gdLst>
              <a:gd name="connsiteX0" fmla="*/ 3375 w 27817"/>
              <a:gd name="connsiteY0" fmla="*/ 18249 h 27743"/>
              <a:gd name="connsiteX1" fmla="*/ 4080 w 27817"/>
              <a:gd name="connsiteY1" fmla="*/ 23701 h 27743"/>
              <a:gd name="connsiteX2" fmla="*/ 9532 w 27817"/>
              <a:gd name="connsiteY2" fmla="*/ 24405 h 27743"/>
              <a:gd name="connsiteX3" fmla="*/ 13909 w 27817"/>
              <a:gd name="connsiteY3" fmla="*/ 27743 h 27743"/>
              <a:gd name="connsiteX4" fmla="*/ 18286 w 27817"/>
              <a:gd name="connsiteY4" fmla="*/ 24405 h 27743"/>
              <a:gd name="connsiteX5" fmla="*/ 23738 w 27817"/>
              <a:gd name="connsiteY5" fmla="*/ 23701 h 27743"/>
              <a:gd name="connsiteX6" fmla="*/ 24443 w 27817"/>
              <a:gd name="connsiteY6" fmla="*/ 18249 h 27743"/>
              <a:gd name="connsiteX7" fmla="*/ 27818 w 27817"/>
              <a:gd name="connsiteY7" fmla="*/ 13909 h 27743"/>
              <a:gd name="connsiteX8" fmla="*/ 24443 w 27817"/>
              <a:gd name="connsiteY8" fmla="*/ 9532 h 27743"/>
              <a:gd name="connsiteX9" fmla="*/ 23738 w 27817"/>
              <a:gd name="connsiteY9" fmla="*/ 4080 h 27743"/>
              <a:gd name="connsiteX10" fmla="*/ 18286 w 27817"/>
              <a:gd name="connsiteY10" fmla="*/ 3375 h 27743"/>
              <a:gd name="connsiteX11" fmla="*/ 13909 w 27817"/>
              <a:gd name="connsiteY11" fmla="*/ 0 h 27743"/>
              <a:gd name="connsiteX12" fmla="*/ 9532 w 27817"/>
              <a:gd name="connsiteY12" fmla="*/ 3375 h 27743"/>
              <a:gd name="connsiteX13" fmla="*/ 4080 w 27817"/>
              <a:gd name="connsiteY13" fmla="*/ 4080 h 27743"/>
              <a:gd name="connsiteX14" fmla="*/ 3375 w 27817"/>
              <a:gd name="connsiteY14" fmla="*/ 9532 h 27743"/>
              <a:gd name="connsiteX15" fmla="*/ 0 w 27817"/>
              <a:gd name="connsiteY15" fmla="*/ 13909 h 27743"/>
              <a:gd name="connsiteX16" fmla="*/ 3375 w 27817"/>
              <a:gd name="connsiteY16" fmla="*/ 18249 h 27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817" h="27743">
                <a:moveTo>
                  <a:pt x="3375" y="18249"/>
                </a:moveTo>
                <a:cubicBezTo>
                  <a:pt x="2374" y="19992"/>
                  <a:pt x="2596" y="22217"/>
                  <a:pt x="4080" y="23701"/>
                </a:cubicBezTo>
                <a:cubicBezTo>
                  <a:pt x="5564" y="25184"/>
                  <a:pt x="7789" y="25407"/>
                  <a:pt x="9532" y="24405"/>
                </a:cubicBezTo>
                <a:cubicBezTo>
                  <a:pt x="10052" y="26334"/>
                  <a:pt x="11795" y="27743"/>
                  <a:pt x="13909" y="27743"/>
                </a:cubicBezTo>
                <a:cubicBezTo>
                  <a:pt x="16023" y="27743"/>
                  <a:pt x="17766" y="26334"/>
                  <a:pt x="18286" y="24405"/>
                </a:cubicBezTo>
                <a:cubicBezTo>
                  <a:pt x="19992" y="25407"/>
                  <a:pt x="22254" y="25184"/>
                  <a:pt x="23738" y="23701"/>
                </a:cubicBezTo>
                <a:cubicBezTo>
                  <a:pt x="25222" y="22217"/>
                  <a:pt x="25444" y="19992"/>
                  <a:pt x="24443" y="18249"/>
                </a:cubicBezTo>
                <a:cubicBezTo>
                  <a:pt x="26371" y="17729"/>
                  <a:pt x="27818" y="15986"/>
                  <a:pt x="27818" y="13909"/>
                </a:cubicBezTo>
                <a:cubicBezTo>
                  <a:pt x="27818" y="11832"/>
                  <a:pt x="26409" y="10051"/>
                  <a:pt x="24443" y="9532"/>
                </a:cubicBezTo>
                <a:cubicBezTo>
                  <a:pt x="25444" y="7826"/>
                  <a:pt x="25222" y="5564"/>
                  <a:pt x="23738" y="4080"/>
                </a:cubicBezTo>
                <a:cubicBezTo>
                  <a:pt x="22254" y="2596"/>
                  <a:pt x="20029" y="2374"/>
                  <a:pt x="18286" y="3375"/>
                </a:cubicBezTo>
                <a:cubicBezTo>
                  <a:pt x="17766" y="1447"/>
                  <a:pt x="16023" y="0"/>
                  <a:pt x="13909" y="0"/>
                </a:cubicBezTo>
                <a:cubicBezTo>
                  <a:pt x="11795" y="0"/>
                  <a:pt x="10052" y="1409"/>
                  <a:pt x="9532" y="3375"/>
                </a:cubicBezTo>
                <a:cubicBezTo>
                  <a:pt x="7826" y="2374"/>
                  <a:pt x="5564" y="2596"/>
                  <a:pt x="4080" y="4080"/>
                </a:cubicBezTo>
                <a:cubicBezTo>
                  <a:pt x="2596" y="5564"/>
                  <a:pt x="2374" y="7789"/>
                  <a:pt x="3375" y="9532"/>
                </a:cubicBezTo>
                <a:cubicBezTo>
                  <a:pt x="1447" y="10051"/>
                  <a:pt x="0" y="11795"/>
                  <a:pt x="0" y="13909"/>
                </a:cubicBezTo>
                <a:cubicBezTo>
                  <a:pt x="0" y="16023"/>
                  <a:pt x="1409" y="17766"/>
                  <a:pt x="3375" y="18249"/>
                </a:cubicBezTo>
              </a:path>
            </a:pathLst>
          </a:custGeom>
          <a:solidFill>
            <a:srgbClr val="FDC83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2" name="Freihandform: Form 191">
            <a:extLst>
              <a:ext uri="{FF2B5EF4-FFF2-40B4-BE49-F238E27FC236}">
                <a16:creationId xmlns:a16="http://schemas.microsoft.com/office/drawing/2014/main" id="{EB2CA85F-FEDD-2ED2-D218-2C180D25D543}"/>
              </a:ext>
            </a:extLst>
          </p:cNvPr>
          <p:cNvSpPr/>
          <p:nvPr/>
        </p:nvSpPr>
        <p:spPr>
          <a:xfrm>
            <a:off x="7458372" y="5798064"/>
            <a:ext cx="49449" cy="127637"/>
          </a:xfrm>
          <a:custGeom>
            <a:avLst/>
            <a:gdLst>
              <a:gd name="connsiteX0" fmla="*/ 755 w 17967"/>
              <a:gd name="connsiteY0" fmla="*/ 46340 h 46376"/>
              <a:gd name="connsiteX1" fmla="*/ 606 w 17967"/>
              <a:gd name="connsiteY1" fmla="*/ 46340 h 46376"/>
              <a:gd name="connsiteX2" fmla="*/ 13 w 17967"/>
              <a:gd name="connsiteY2" fmla="*/ 45450 h 46376"/>
              <a:gd name="connsiteX3" fmla="*/ 16555 w 17967"/>
              <a:gd name="connsiteY3" fmla="*/ 385 h 46376"/>
              <a:gd name="connsiteX4" fmla="*/ 17593 w 17967"/>
              <a:gd name="connsiteY4" fmla="*/ 88 h 46376"/>
              <a:gd name="connsiteX5" fmla="*/ 17853 w 17967"/>
              <a:gd name="connsiteY5" fmla="*/ 1126 h 46376"/>
              <a:gd name="connsiteX6" fmla="*/ 1496 w 17967"/>
              <a:gd name="connsiteY6" fmla="*/ 45746 h 46376"/>
              <a:gd name="connsiteX7" fmla="*/ 755 w 17967"/>
              <a:gd name="connsiteY7" fmla="*/ 46377 h 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67" h="46376">
                <a:moveTo>
                  <a:pt x="755" y="46340"/>
                </a:moveTo>
                <a:cubicBezTo>
                  <a:pt x="755" y="46340"/>
                  <a:pt x="643" y="46340"/>
                  <a:pt x="606" y="46340"/>
                </a:cubicBezTo>
                <a:cubicBezTo>
                  <a:pt x="198" y="46265"/>
                  <a:pt x="-62" y="45858"/>
                  <a:pt x="13" y="45450"/>
                </a:cubicBezTo>
                <a:cubicBezTo>
                  <a:pt x="4983" y="20599"/>
                  <a:pt x="16444" y="570"/>
                  <a:pt x="16555" y="385"/>
                </a:cubicBezTo>
                <a:cubicBezTo>
                  <a:pt x="16778" y="14"/>
                  <a:pt x="17223" y="-97"/>
                  <a:pt x="17593" y="88"/>
                </a:cubicBezTo>
                <a:cubicBezTo>
                  <a:pt x="17964" y="311"/>
                  <a:pt x="18076" y="756"/>
                  <a:pt x="17853" y="1126"/>
                </a:cubicBezTo>
                <a:cubicBezTo>
                  <a:pt x="17742" y="1312"/>
                  <a:pt x="6392" y="21118"/>
                  <a:pt x="1496" y="45746"/>
                </a:cubicBezTo>
                <a:cubicBezTo>
                  <a:pt x="1422" y="46117"/>
                  <a:pt x="1088" y="46377"/>
                  <a:pt x="755" y="46377"/>
                </a:cubicBezTo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3" name="Freihandform: Form 192">
            <a:extLst>
              <a:ext uri="{FF2B5EF4-FFF2-40B4-BE49-F238E27FC236}">
                <a16:creationId xmlns:a16="http://schemas.microsoft.com/office/drawing/2014/main" id="{DD5142D8-C5B1-87DD-2F33-E5C66F5EE3D6}"/>
              </a:ext>
            </a:extLst>
          </p:cNvPr>
          <p:cNvSpPr/>
          <p:nvPr/>
        </p:nvSpPr>
        <p:spPr>
          <a:xfrm>
            <a:off x="7437274" y="5845477"/>
            <a:ext cx="82608" cy="86351"/>
          </a:xfrm>
          <a:custGeom>
            <a:avLst/>
            <a:gdLst>
              <a:gd name="connsiteX0" fmla="*/ 17247 w 30015"/>
              <a:gd name="connsiteY0" fmla="*/ 31375 h 31375"/>
              <a:gd name="connsiteX1" fmla="*/ 18731 w 30015"/>
              <a:gd name="connsiteY1" fmla="*/ 29409 h 31375"/>
              <a:gd name="connsiteX2" fmla="*/ 29339 w 30015"/>
              <a:gd name="connsiteY2" fmla="*/ 5375 h 31375"/>
              <a:gd name="connsiteX3" fmla="*/ 9495 w 30015"/>
              <a:gd name="connsiteY3" fmla="*/ 22585 h 31375"/>
              <a:gd name="connsiteX4" fmla="*/ 8679 w 30015"/>
              <a:gd name="connsiteY4" fmla="*/ 23698 h 31375"/>
              <a:gd name="connsiteX5" fmla="*/ 11350 w 30015"/>
              <a:gd name="connsiteY5" fmla="*/ 34 h 31375"/>
              <a:gd name="connsiteX6" fmla="*/ 0 w 30015"/>
              <a:gd name="connsiteY6" fmla="*/ 31375 h 31375"/>
              <a:gd name="connsiteX7" fmla="*/ 17247 w 30015"/>
              <a:gd name="connsiteY7" fmla="*/ 31375 h 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15" h="31375">
                <a:moveTo>
                  <a:pt x="17247" y="31375"/>
                </a:moveTo>
                <a:cubicBezTo>
                  <a:pt x="17729" y="30745"/>
                  <a:pt x="18248" y="30077"/>
                  <a:pt x="18731" y="29409"/>
                </a:cubicBezTo>
                <a:cubicBezTo>
                  <a:pt x="27113" y="18023"/>
                  <a:pt x="31861" y="7267"/>
                  <a:pt x="29339" y="5375"/>
                </a:cubicBezTo>
                <a:cubicBezTo>
                  <a:pt x="26779" y="3483"/>
                  <a:pt x="17915" y="11198"/>
                  <a:pt x="9495" y="22585"/>
                </a:cubicBezTo>
                <a:cubicBezTo>
                  <a:pt x="9235" y="22956"/>
                  <a:pt x="8939" y="23327"/>
                  <a:pt x="8679" y="23698"/>
                </a:cubicBezTo>
                <a:cubicBezTo>
                  <a:pt x="12017" y="11087"/>
                  <a:pt x="13204" y="516"/>
                  <a:pt x="11350" y="34"/>
                </a:cubicBezTo>
                <a:cubicBezTo>
                  <a:pt x="7603" y="-967"/>
                  <a:pt x="2448" y="20285"/>
                  <a:pt x="0" y="31375"/>
                </a:cubicBezTo>
                <a:lnTo>
                  <a:pt x="17247" y="31375"/>
                </a:lnTo>
                <a:close/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4" name="Freihandform: Form 193">
            <a:extLst>
              <a:ext uri="{FF2B5EF4-FFF2-40B4-BE49-F238E27FC236}">
                <a16:creationId xmlns:a16="http://schemas.microsoft.com/office/drawing/2014/main" id="{7C9A100E-391A-DB23-89DB-F066995676A3}"/>
              </a:ext>
            </a:extLst>
          </p:cNvPr>
          <p:cNvSpPr/>
          <p:nvPr/>
        </p:nvSpPr>
        <p:spPr>
          <a:xfrm>
            <a:off x="7334990" y="5757169"/>
            <a:ext cx="76456" cy="76355"/>
          </a:xfrm>
          <a:custGeom>
            <a:avLst/>
            <a:gdLst>
              <a:gd name="connsiteX0" fmla="*/ 24443 w 27780"/>
              <a:gd name="connsiteY0" fmla="*/ 18249 h 27743"/>
              <a:gd name="connsiteX1" fmla="*/ 23738 w 27780"/>
              <a:gd name="connsiteY1" fmla="*/ 23701 h 27743"/>
              <a:gd name="connsiteX2" fmla="*/ 18286 w 27780"/>
              <a:gd name="connsiteY2" fmla="*/ 24405 h 27743"/>
              <a:gd name="connsiteX3" fmla="*/ 13909 w 27780"/>
              <a:gd name="connsiteY3" fmla="*/ 27743 h 27743"/>
              <a:gd name="connsiteX4" fmla="*/ 9532 w 27780"/>
              <a:gd name="connsiteY4" fmla="*/ 24405 h 27743"/>
              <a:gd name="connsiteX5" fmla="*/ 4080 w 27780"/>
              <a:gd name="connsiteY5" fmla="*/ 23701 h 27743"/>
              <a:gd name="connsiteX6" fmla="*/ 3375 w 27780"/>
              <a:gd name="connsiteY6" fmla="*/ 18249 h 27743"/>
              <a:gd name="connsiteX7" fmla="*/ 0 w 27780"/>
              <a:gd name="connsiteY7" fmla="*/ 13909 h 27743"/>
              <a:gd name="connsiteX8" fmla="*/ 3375 w 27780"/>
              <a:gd name="connsiteY8" fmla="*/ 9532 h 27743"/>
              <a:gd name="connsiteX9" fmla="*/ 4080 w 27780"/>
              <a:gd name="connsiteY9" fmla="*/ 4080 h 27743"/>
              <a:gd name="connsiteX10" fmla="*/ 9532 w 27780"/>
              <a:gd name="connsiteY10" fmla="*/ 3375 h 27743"/>
              <a:gd name="connsiteX11" fmla="*/ 13909 w 27780"/>
              <a:gd name="connsiteY11" fmla="*/ 0 h 27743"/>
              <a:gd name="connsiteX12" fmla="*/ 18286 w 27780"/>
              <a:gd name="connsiteY12" fmla="*/ 3375 h 27743"/>
              <a:gd name="connsiteX13" fmla="*/ 23738 w 27780"/>
              <a:gd name="connsiteY13" fmla="*/ 4080 h 27743"/>
              <a:gd name="connsiteX14" fmla="*/ 24443 w 27780"/>
              <a:gd name="connsiteY14" fmla="*/ 9532 h 27743"/>
              <a:gd name="connsiteX15" fmla="*/ 27781 w 27780"/>
              <a:gd name="connsiteY15" fmla="*/ 13909 h 27743"/>
              <a:gd name="connsiteX16" fmla="*/ 24443 w 27780"/>
              <a:gd name="connsiteY16" fmla="*/ 18249 h 27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780" h="27743">
                <a:moveTo>
                  <a:pt x="24443" y="18249"/>
                </a:moveTo>
                <a:cubicBezTo>
                  <a:pt x="25444" y="19992"/>
                  <a:pt x="25222" y="22217"/>
                  <a:pt x="23738" y="23701"/>
                </a:cubicBezTo>
                <a:cubicBezTo>
                  <a:pt x="22254" y="25184"/>
                  <a:pt x="20029" y="25407"/>
                  <a:pt x="18286" y="24405"/>
                </a:cubicBezTo>
                <a:cubicBezTo>
                  <a:pt x="17766" y="26334"/>
                  <a:pt x="16023" y="27743"/>
                  <a:pt x="13909" y="27743"/>
                </a:cubicBezTo>
                <a:cubicBezTo>
                  <a:pt x="11795" y="27743"/>
                  <a:pt x="10052" y="26334"/>
                  <a:pt x="9532" y="24405"/>
                </a:cubicBezTo>
                <a:cubicBezTo>
                  <a:pt x="7826" y="25407"/>
                  <a:pt x="5564" y="25184"/>
                  <a:pt x="4080" y="23701"/>
                </a:cubicBezTo>
                <a:cubicBezTo>
                  <a:pt x="2596" y="22217"/>
                  <a:pt x="2374" y="19992"/>
                  <a:pt x="3375" y="18249"/>
                </a:cubicBezTo>
                <a:cubicBezTo>
                  <a:pt x="1447" y="17729"/>
                  <a:pt x="0" y="15986"/>
                  <a:pt x="0" y="13909"/>
                </a:cubicBezTo>
                <a:cubicBezTo>
                  <a:pt x="0" y="11832"/>
                  <a:pt x="1409" y="10051"/>
                  <a:pt x="3375" y="9532"/>
                </a:cubicBezTo>
                <a:cubicBezTo>
                  <a:pt x="2374" y="7826"/>
                  <a:pt x="2596" y="5564"/>
                  <a:pt x="4080" y="4080"/>
                </a:cubicBezTo>
                <a:cubicBezTo>
                  <a:pt x="5564" y="2596"/>
                  <a:pt x="7789" y="2374"/>
                  <a:pt x="9532" y="3375"/>
                </a:cubicBezTo>
                <a:cubicBezTo>
                  <a:pt x="10052" y="1447"/>
                  <a:pt x="11795" y="0"/>
                  <a:pt x="13909" y="0"/>
                </a:cubicBezTo>
                <a:cubicBezTo>
                  <a:pt x="16023" y="0"/>
                  <a:pt x="17766" y="1409"/>
                  <a:pt x="18286" y="3375"/>
                </a:cubicBezTo>
                <a:cubicBezTo>
                  <a:pt x="19992" y="2374"/>
                  <a:pt x="22254" y="2596"/>
                  <a:pt x="23738" y="4080"/>
                </a:cubicBezTo>
                <a:cubicBezTo>
                  <a:pt x="25222" y="5564"/>
                  <a:pt x="25444" y="7789"/>
                  <a:pt x="24443" y="9532"/>
                </a:cubicBezTo>
                <a:cubicBezTo>
                  <a:pt x="26371" y="10051"/>
                  <a:pt x="27781" y="11795"/>
                  <a:pt x="27781" y="13909"/>
                </a:cubicBezTo>
                <a:cubicBezTo>
                  <a:pt x="27781" y="16023"/>
                  <a:pt x="26371" y="17766"/>
                  <a:pt x="24443" y="18249"/>
                </a:cubicBezTo>
              </a:path>
            </a:pathLst>
          </a:custGeom>
          <a:solidFill>
            <a:srgbClr val="FDC83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5" name="Freihandform: Form 194">
            <a:extLst>
              <a:ext uri="{FF2B5EF4-FFF2-40B4-BE49-F238E27FC236}">
                <a16:creationId xmlns:a16="http://schemas.microsoft.com/office/drawing/2014/main" id="{5B05E643-6DAF-555A-D59C-AEBF2014D70D}"/>
              </a:ext>
            </a:extLst>
          </p:cNvPr>
          <p:cNvSpPr/>
          <p:nvPr/>
        </p:nvSpPr>
        <p:spPr>
          <a:xfrm>
            <a:off x="7374590" y="5798064"/>
            <a:ext cx="49449" cy="127637"/>
          </a:xfrm>
          <a:custGeom>
            <a:avLst/>
            <a:gdLst>
              <a:gd name="connsiteX0" fmla="*/ 17213 w 17967"/>
              <a:gd name="connsiteY0" fmla="*/ 46340 h 46376"/>
              <a:gd name="connsiteX1" fmla="*/ 17361 w 17967"/>
              <a:gd name="connsiteY1" fmla="*/ 46340 h 46376"/>
              <a:gd name="connsiteX2" fmla="*/ 17955 w 17967"/>
              <a:gd name="connsiteY2" fmla="*/ 45450 h 46376"/>
              <a:gd name="connsiteX3" fmla="*/ 1412 w 17967"/>
              <a:gd name="connsiteY3" fmla="*/ 385 h 46376"/>
              <a:gd name="connsiteX4" fmla="*/ 374 w 17967"/>
              <a:gd name="connsiteY4" fmla="*/ 88 h 46376"/>
              <a:gd name="connsiteX5" fmla="*/ 114 w 17967"/>
              <a:gd name="connsiteY5" fmla="*/ 1126 h 46376"/>
              <a:gd name="connsiteX6" fmla="*/ 16471 w 17967"/>
              <a:gd name="connsiteY6" fmla="*/ 45746 h 46376"/>
              <a:gd name="connsiteX7" fmla="*/ 17213 w 17967"/>
              <a:gd name="connsiteY7" fmla="*/ 46377 h 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67" h="46376">
                <a:moveTo>
                  <a:pt x="17213" y="46340"/>
                </a:moveTo>
                <a:cubicBezTo>
                  <a:pt x="17213" y="46340"/>
                  <a:pt x="17324" y="46340"/>
                  <a:pt x="17361" y="46340"/>
                </a:cubicBezTo>
                <a:cubicBezTo>
                  <a:pt x="17769" y="46265"/>
                  <a:pt x="18029" y="45858"/>
                  <a:pt x="17955" y="45450"/>
                </a:cubicBezTo>
                <a:cubicBezTo>
                  <a:pt x="12984" y="20599"/>
                  <a:pt x="1524" y="570"/>
                  <a:pt x="1412" y="385"/>
                </a:cubicBezTo>
                <a:cubicBezTo>
                  <a:pt x="1190" y="14"/>
                  <a:pt x="745" y="-97"/>
                  <a:pt x="374" y="88"/>
                </a:cubicBezTo>
                <a:cubicBezTo>
                  <a:pt x="3" y="311"/>
                  <a:pt x="-108" y="756"/>
                  <a:pt x="114" y="1126"/>
                </a:cubicBezTo>
                <a:cubicBezTo>
                  <a:pt x="225" y="1312"/>
                  <a:pt x="11575" y="21118"/>
                  <a:pt x="16471" y="45746"/>
                </a:cubicBezTo>
                <a:cubicBezTo>
                  <a:pt x="16545" y="46117"/>
                  <a:pt x="16879" y="46377"/>
                  <a:pt x="17213" y="46377"/>
                </a:cubicBezTo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96" name="Freihandform: Form 195">
            <a:extLst>
              <a:ext uri="{FF2B5EF4-FFF2-40B4-BE49-F238E27FC236}">
                <a16:creationId xmlns:a16="http://schemas.microsoft.com/office/drawing/2014/main" id="{398E6F39-7A6F-0000-175E-08F43557D507}"/>
              </a:ext>
            </a:extLst>
          </p:cNvPr>
          <p:cNvSpPr/>
          <p:nvPr/>
        </p:nvSpPr>
        <p:spPr>
          <a:xfrm>
            <a:off x="7362526" y="5845477"/>
            <a:ext cx="82608" cy="86351"/>
          </a:xfrm>
          <a:custGeom>
            <a:avLst/>
            <a:gdLst>
              <a:gd name="connsiteX0" fmla="*/ 12768 w 30015"/>
              <a:gd name="connsiteY0" fmla="*/ 31375 h 31375"/>
              <a:gd name="connsiteX1" fmla="*/ 11285 w 30015"/>
              <a:gd name="connsiteY1" fmla="*/ 29409 h 31375"/>
              <a:gd name="connsiteX2" fmla="*/ 677 w 30015"/>
              <a:gd name="connsiteY2" fmla="*/ 5375 h 31375"/>
              <a:gd name="connsiteX3" fmla="*/ 20520 w 30015"/>
              <a:gd name="connsiteY3" fmla="*/ 22585 h 31375"/>
              <a:gd name="connsiteX4" fmla="*/ 21336 w 30015"/>
              <a:gd name="connsiteY4" fmla="*/ 23698 h 31375"/>
              <a:gd name="connsiteX5" fmla="*/ 18666 w 30015"/>
              <a:gd name="connsiteY5" fmla="*/ 34 h 31375"/>
              <a:gd name="connsiteX6" fmla="*/ 30015 w 30015"/>
              <a:gd name="connsiteY6" fmla="*/ 31375 h 31375"/>
              <a:gd name="connsiteX7" fmla="*/ 12768 w 30015"/>
              <a:gd name="connsiteY7" fmla="*/ 31375 h 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15" h="31375">
                <a:moveTo>
                  <a:pt x="12768" y="31375"/>
                </a:moveTo>
                <a:cubicBezTo>
                  <a:pt x="12286" y="30745"/>
                  <a:pt x="11767" y="30077"/>
                  <a:pt x="11285" y="29409"/>
                </a:cubicBezTo>
                <a:cubicBezTo>
                  <a:pt x="2902" y="18023"/>
                  <a:pt x="-1846" y="7267"/>
                  <a:pt x="677" y="5375"/>
                </a:cubicBezTo>
                <a:cubicBezTo>
                  <a:pt x="3236" y="3483"/>
                  <a:pt x="12100" y="11198"/>
                  <a:pt x="20520" y="22585"/>
                </a:cubicBezTo>
                <a:cubicBezTo>
                  <a:pt x="20780" y="22956"/>
                  <a:pt x="21076" y="23327"/>
                  <a:pt x="21336" y="23698"/>
                </a:cubicBezTo>
                <a:cubicBezTo>
                  <a:pt x="17998" y="11087"/>
                  <a:pt x="16811" y="516"/>
                  <a:pt x="18666" y="34"/>
                </a:cubicBezTo>
                <a:cubicBezTo>
                  <a:pt x="22412" y="-967"/>
                  <a:pt x="27567" y="20285"/>
                  <a:pt x="30015" y="31375"/>
                </a:cubicBezTo>
                <a:lnTo>
                  <a:pt x="12768" y="31375"/>
                </a:lnTo>
                <a:close/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00" name="Freihandform: Form 199">
            <a:extLst>
              <a:ext uri="{FF2B5EF4-FFF2-40B4-BE49-F238E27FC236}">
                <a16:creationId xmlns:a16="http://schemas.microsoft.com/office/drawing/2014/main" id="{9180A151-4661-6BE5-DA4A-276E21EB3336}"/>
              </a:ext>
            </a:extLst>
          </p:cNvPr>
          <p:cNvSpPr/>
          <p:nvPr/>
        </p:nvSpPr>
        <p:spPr>
          <a:xfrm>
            <a:off x="10984896" y="5758597"/>
            <a:ext cx="47465" cy="173231"/>
          </a:xfrm>
          <a:custGeom>
            <a:avLst/>
            <a:gdLst>
              <a:gd name="connsiteX0" fmla="*/ 0 w 17246"/>
              <a:gd name="connsiteY0" fmla="*/ 0 h 62942"/>
              <a:gd name="connsiteX1" fmla="*/ 17247 w 17246"/>
              <a:gd name="connsiteY1" fmla="*/ 0 h 62942"/>
              <a:gd name="connsiteX2" fmla="*/ 17247 w 17246"/>
              <a:gd name="connsiteY2" fmla="*/ 62942 h 62942"/>
              <a:gd name="connsiteX3" fmla="*/ 0 w 17246"/>
              <a:gd name="connsiteY3" fmla="*/ 62942 h 62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46" h="62942">
                <a:moveTo>
                  <a:pt x="0" y="0"/>
                </a:moveTo>
                <a:lnTo>
                  <a:pt x="17247" y="0"/>
                </a:lnTo>
                <a:lnTo>
                  <a:pt x="17247" y="62942"/>
                </a:lnTo>
                <a:lnTo>
                  <a:pt x="0" y="62942"/>
                </a:lnTo>
                <a:close/>
              </a:path>
            </a:pathLst>
          </a:custGeom>
          <a:solidFill>
            <a:srgbClr val="CA8A04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01" name="Freihandform: Form 200">
            <a:extLst>
              <a:ext uri="{FF2B5EF4-FFF2-40B4-BE49-F238E27FC236}">
                <a16:creationId xmlns:a16="http://schemas.microsoft.com/office/drawing/2014/main" id="{6AD762E2-9C40-EF90-E80A-70CEB016D513}"/>
              </a:ext>
            </a:extLst>
          </p:cNvPr>
          <p:cNvSpPr/>
          <p:nvPr/>
        </p:nvSpPr>
        <p:spPr>
          <a:xfrm>
            <a:off x="10892826" y="5484358"/>
            <a:ext cx="231410" cy="346656"/>
          </a:xfrm>
          <a:custGeom>
            <a:avLst/>
            <a:gdLst>
              <a:gd name="connsiteX0" fmla="*/ 84081 w 84081"/>
              <a:gd name="connsiteY0" fmla="*/ 42042 h 125955"/>
              <a:gd name="connsiteX1" fmla="*/ 40760 w 84081"/>
              <a:gd name="connsiteY1" fmla="*/ 19 h 125955"/>
              <a:gd name="connsiteX2" fmla="*/ 35 w 84081"/>
              <a:gd name="connsiteY2" fmla="*/ 40262 h 125955"/>
              <a:gd name="connsiteX3" fmla="*/ 11867 w 84081"/>
              <a:gd name="connsiteY3" fmla="*/ 71269 h 125955"/>
              <a:gd name="connsiteX4" fmla="*/ 16057 w 84081"/>
              <a:gd name="connsiteY4" fmla="*/ 90297 h 125955"/>
              <a:gd name="connsiteX5" fmla="*/ 14759 w 84081"/>
              <a:gd name="connsiteY5" fmla="*/ 99569 h 125955"/>
              <a:gd name="connsiteX6" fmla="*/ 40277 w 84081"/>
              <a:gd name="connsiteY6" fmla="*/ 125903 h 125955"/>
              <a:gd name="connsiteX7" fmla="*/ 69282 w 84081"/>
              <a:gd name="connsiteY7" fmla="*/ 98679 h 125955"/>
              <a:gd name="connsiteX8" fmla="*/ 68021 w 84081"/>
              <a:gd name="connsiteY8" fmla="*/ 90482 h 125955"/>
              <a:gd name="connsiteX9" fmla="*/ 72361 w 84081"/>
              <a:gd name="connsiteY9" fmla="*/ 71084 h 125955"/>
              <a:gd name="connsiteX10" fmla="*/ 84007 w 84081"/>
              <a:gd name="connsiteY10" fmla="*/ 42042 h 12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081" h="125955">
                <a:moveTo>
                  <a:pt x="84081" y="42042"/>
                </a:moveTo>
                <a:cubicBezTo>
                  <a:pt x="84081" y="18416"/>
                  <a:pt x="64572" y="-686"/>
                  <a:pt x="40760" y="19"/>
                </a:cubicBezTo>
                <a:cubicBezTo>
                  <a:pt x="18876" y="687"/>
                  <a:pt x="962" y="18416"/>
                  <a:pt x="35" y="40262"/>
                </a:cubicBezTo>
                <a:cubicBezTo>
                  <a:pt x="-448" y="52316"/>
                  <a:pt x="4152" y="63332"/>
                  <a:pt x="11867" y="71269"/>
                </a:cubicBezTo>
                <a:cubicBezTo>
                  <a:pt x="16725" y="76277"/>
                  <a:pt x="18209" y="83658"/>
                  <a:pt x="16057" y="90297"/>
                </a:cubicBezTo>
                <a:cubicBezTo>
                  <a:pt x="15130" y="93190"/>
                  <a:pt x="14648" y="96343"/>
                  <a:pt x="14759" y="99569"/>
                </a:cubicBezTo>
                <a:cubicBezTo>
                  <a:pt x="15204" y="113478"/>
                  <a:pt x="26369" y="125050"/>
                  <a:pt x="40277" y="125903"/>
                </a:cubicBezTo>
                <a:cubicBezTo>
                  <a:pt x="56115" y="126868"/>
                  <a:pt x="69282" y="114331"/>
                  <a:pt x="69282" y="98679"/>
                </a:cubicBezTo>
                <a:cubicBezTo>
                  <a:pt x="69282" y="95823"/>
                  <a:pt x="68837" y="93079"/>
                  <a:pt x="68021" y="90482"/>
                </a:cubicBezTo>
                <a:cubicBezTo>
                  <a:pt x="65870" y="83658"/>
                  <a:pt x="67428" y="76239"/>
                  <a:pt x="72361" y="71084"/>
                </a:cubicBezTo>
                <a:cubicBezTo>
                  <a:pt x="79593" y="63555"/>
                  <a:pt x="84007" y="53318"/>
                  <a:pt x="84007" y="42042"/>
                </a:cubicBezTo>
              </a:path>
            </a:pathLst>
          </a:custGeom>
          <a:solidFill>
            <a:srgbClr val="53832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03" name="Freihandform: Form 202">
            <a:extLst>
              <a:ext uri="{FF2B5EF4-FFF2-40B4-BE49-F238E27FC236}">
                <a16:creationId xmlns:a16="http://schemas.microsoft.com/office/drawing/2014/main" id="{3F2F2221-0437-E487-5921-D939D88DDBB1}"/>
              </a:ext>
            </a:extLst>
          </p:cNvPr>
          <p:cNvSpPr/>
          <p:nvPr/>
        </p:nvSpPr>
        <p:spPr>
          <a:xfrm>
            <a:off x="4631274" y="5988137"/>
            <a:ext cx="386373" cy="380351"/>
          </a:xfrm>
          <a:custGeom>
            <a:avLst/>
            <a:gdLst>
              <a:gd name="connsiteX0" fmla="*/ 126181 w 140386"/>
              <a:gd name="connsiteY0" fmla="*/ 126923 h 138198"/>
              <a:gd name="connsiteX1" fmla="*/ 140387 w 140386"/>
              <a:gd name="connsiteY1" fmla="*/ 126923 h 138198"/>
              <a:gd name="connsiteX2" fmla="*/ 140387 w 140386"/>
              <a:gd name="connsiteY2" fmla="*/ 119913 h 138198"/>
              <a:gd name="connsiteX3" fmla="*/ 97362 w 140386"/>
              <a:gd name="connsiteY3" fmla="*/ 76888 h 138198"/>
              <a:gd name="connsiteX4" fmla="*/ 59196 w 140386"/>
              <a:gd name="connsiteY4" fmla="*/ 100070 h 138198"/>
              <a:gd name="connsiteX5" fmla="*/ 52409 w 140386"/>
              <a:gd name="connsiteY5" fmla="*/ 113088 h 138198"/>
              <a:gd name="connsiteX6" fmla="*/ 34457 w 140386"/>
              <a:gd name="connsiteY6" fmla="*/ 123993 h 138198"/>
              <a:gd name="connsiteX7" fmla="*/ 14206 w 140386"/>
              <a:gd name="connsiteY7" fmla="*/ 103742 h 138198"/>
              <a:gd name="connsiteX8" fmla="*/ 14206 w 140386"/>
              <a:gd name="connsiteY8" fmla="*/ 0 h 138198"/>
              <a:gd name="connsiteX9" fmla="*/ 0 w 140386"/>
              <a:gd name="connsiteY9" fmla="*/ 0 h 138198"/>
              <a:gd name="connsiteX10" fmla="*/ 0 w 140386"/>
              <a:gd name="connsiteY10" fmla="*/ 103742 h 138198"/>
              <a:gd name="connsiteX11" fmla="*/ 34457 w 140386"/>
              <a:gd name="connsiteY11" fmla="*/ 138199 h 138198"/>
              <a:gd name="connsiteX12" fmla="*/ 65019 w 140386"/>
              <a:gd name="connsiteY12" fmla="*/ 119653 h 138198"/>
              <a:gd name="connsiteX13" fmla="*/ 71807 w 140386"/>
              <a:gd name="connsiteY13" fmla="*/ 106635 h 138198"/>
              <a:gd name="connsiteX14" fmla="*/ 97399 w 140386"/>
              <a:gd name="connsiteY14" fmla="*/ 91094 h 138198"/>
              <a:gd name="connsiteX15" fmla="*/ 126256 w 140386"/>
              <a:gd name="connsiteY15" fmla="*/ 119950 h 138198"/>
              <a:gd name="connsiteX16" fmla="*/ 126256 w 140386"/>
              <a:gd name="connsiteY16" fmla="*/ 126960 h 138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40386" h="138198">
                <a:moveTo>
                  <a:pt x="126181" y="126923"/>
                </a:moveTo>
                <a:lnTo>
                  <a:pt x="140387" y="126923"/>
                </a:lnTo>
                <a:lnTo>
                  <a:pt x="140387" y="119913"/>
                </a:lnTo>
                <a:cubicBezTo>
                  <a:pt x="140387" y="96175"/>
                  <a:pt x="121063" y="76888"/>
                  <a:pt x="97362" y="76888"/>
                </a:cubicBezTo>
                <a:cubicBezTo>
                  <a:pt x="81265" y="76888"/>
                  <a:pt x="66614" y="85753"/>
                  <a:pt x="59196" y="100070"/>
                </a:cubicBezTo>
                <a:lnTo>
                  <a:pt x="52409" y="113088"/>
                </a:lnTo>
                <a:cubicBezTo>
                  <a:pt x="48922" y="119802"/>
                  <a:pt x="42023" y="123993"/>
                  <a:pt x="34457" y="123993"/>
                </a:cubicBezTo>
                <a:cubicBezTo>
                  <a:pt x="23293" y="123993"/>
                  <a:pt x="14206" y="114906"/>
                  <a:pt x="14206" y="103742"/>
                </a:cubicBezTo>
                <a:lnTo>
                  <a:pt x="14206" y="0"/>
                </a:lnTo>
                <a:lnTo>
                  <a:pt x="0" y="0"/>
                </a:lnTo>
                <a:lnTo>
                  <a:pt x="0" y="103742"/>
                </a:lnTo>
                <a:cubicBezTo>
                  <a:pt x="0" y="122732"/>
                  <a:pt x="15467" y="138199"/>
                  <a:pt x="34457" y="138199"/>
                </a:cubicBezTo>
                <a:cubicBezTo>
                  <a:pt x="47364" y="138199"/>
                  <a:pt x="59048" y="131077"/>
                  <a:pt x="65019" y="119653"/>
                </a:cubicBezTo>
                <a:lnTo>
                  <a:pt x="71807" y="106635"/>
                </a:lnTo>
                <a:cubicBezTo>
                  <a:pt x="76777" y="97066"/>
                  <a:pt x="86606" y="91094"/>
                  <a:pt x="97399" y="91094"/>
                </a:cubicBezTo>
                <a:cubicBezTo>
                  <a:pt x="113311" y="91094"/>
                  <a:pt x="126256" y="104039"/>
                  <a:pt x="126256" y="119950"/>
                </a:cubicBezTo>
                <a:lnTo>
                  <a:pt x="126256" y="126960"/>
                </a:lnTo>
                <a:close/>
              </a:path>
            </a:pathLst>
          </a:custGeom>
          <a:solidFill>
            <a:srgbClr val="FC653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79C05A5-318C-A7D5-FB57-FA2B3C730446}"/>
              </a:ext>
            </a:extLst>
          </p:cNvPr>
          <p:cNvGrpSpPr/>
          <p:nvPr/>
        </p:nvGrpSpPr>
        <p:grpSpPr>
          <a:xfrm>
            <a:off x="3756239" y="5634938"/>
            <a:ext cx="974360" cy="733448"/>
            <a:chOff x="151786" y="4813431"/>
            <a:chExt cx="1390687" cy="1046837"/>
          </a:xfrm>
        </p:grpSpPr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26A98CD3-36B1-6AF3-A7D2-FF3D9A689965}"/>
                </a:ext>
              </a:extLst>
            </p:cNvPr>
            <p:cNvSpPr/>
            <p:nvPr/>
          </p:nvSpPr>
          <p:spPr>
            <a:xfrm>
              <a:off x="785282" y="4813431"/>
              <a:ext cx="757191" cy="1046837"/>
            </a:xfrm>
            <a:custGeom>
              <a:avLst/>
              <a:gdLst>
                <a:gd name="connsiteX0" fmla="*/ 59530 w 192758"/>
                <a:gd name="connsiteY0" fmla="*/ 155557 h 266493"/>
                <a:gd name="connsiteX1" fmla="*/ 81821 w 192758"/>
                <a:gd name="connsiteY1" fmla="*/ 133265 h 266493"/>
                <a:gd name="connsiteX2" fmla="*/ 59530 w 192758"/>
                <a:gd name="connsiteY2" fmla="*/ 110974 h 266493"/>
                <a:gd name="connsiteX3" fmla="*/ 37239 w 192758"/>
                <a:gd name="connsiteY3" fmla="*/ 133265 h 266493"/>
                <a:gd name="connsiteX4" fmla="*/ 59530 w 192758"/>
                <a:gd name="connsiteY4" fmla="*/ 155557 h 266493"/>
                <a:gd name="connsiteX5" fmla="*/ 59530 w 192758"/>
                <a:gd name="connsiteY5" fmla="*/ 0 h 266493"/>
                <a:gd name="connsiteX6" fmla="*/ 192759 w 192758"/>
                <a:gd name="connsiteY6" fmla="*/ 133265 h 266493"/>
                <a:gd name="connsiteX7" fmla="*/ 59530 w 192758"/>
                <a:gd name="connsiteY7" fmla="*/ 266494 h 266493"/>
                <a:gd name="connsiteX8" fmla="*/ 0 w 192758"/>
                <a:gd name="connsiteY8" fmla="*/ 252474 h 266493"/>
                <a:gd name="connsiteX9" fmla="*/ 0 w 192758"/>
                <a:gd name="connsiteY9" fmla="*/ 14020 h 266493"/>
                <a:gd name="connsiteX10" fmla="*/ 59530 w 192758"/>
                <a:gd name="connsiteY10" fmla="*/ 0 h 26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2758" h="266493">
                  <a:moveTo>
                    <a:pt x="59530" y="155557"/>
                  </a:moveTo>
                  <a:cubicBezTo>
                    <a:pt x="71844" y="155557"/>
                    <a:pt x="81821" y="145580"/>
                    <a:pt x="81821" y="133265"/>
                  </a:cubicBezTo>
                  <a:cubicBezTo>
                    <a:pt x="81821" y="120951"/>
                    <a:pt x="71844" y="110974"/>
                    <a:pt x="59530" y="110974"/>
                  </a:cubicBezTo>
                  <a:cubicBezTo>
                    <a:pt x="47216" y="110974"/>
                    <a:pt x="37239" y="120951"/>
                    <a:pt x="37239" y="133265"/>
                  </a:cubicBezTo>
                  <a:cubicBezTo>
                    <a:pt x="37239" y="145580"/>
                    <a:pt x="47216" y="155557"/>
                    <a:pt x="59530" y="155557"/>
                  </a:cubicBezTo>
                  <a:moveTo>
                    <a:pt x="59530" y="0"/>
                  </a:moveTo>
                  <a:cubicBezTo>
                    <a:pt x="133117" y="0"/>
                    <a:pt x="192759" y="59641"/>
                    <a:pt x="192759" y="133265"/>
                  </a:cubicBezTo>
                  <a:cubicBezTo>
                    <a:pt x="192759" y="206890"/>
                    <a:pt x="133117" y="266494"/>
                    <a:pt x="59530" y="266494"/>
                  </a:cubicBezTo>
                  <a:cubicBezTo>
                    <a:pt x="38129" y="266494"/>
                    <a:pt x="17915" y="261450"/>
                    <a:pt x="0" y="252474"/>
                  </a:cubicBezTo>
                  <a:lnTo>
                    <a:pt x="0" y="14020"/>
                  </a:lnTo>
                  <a:cubicBezTo>
                    <a:pt x="17915" y="5044"/>
                    <a:pt x="38129" y="0"/>
                    <a:pt x="59530" y="0"/>
                  </a:cubicBezTo>
                </a:path>
              </a:pathLst>
            </a:custGeom>
            <a:solidFill>
              <a:srgbClr val="00348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4028F3E3-6927-788B-E078-5B243892CFEB}"/>
                </a:ext>
              </a:extLst>
            </p:cNvPr>
            <p:cNvSpPr/>
            <p:nvPr/>
          </p:nvSpPr>
          <p:spPr>
            <a:xfrm>
              <a:off x="976291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58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B042D4A4-11DB-40E4-DCD7-470406837E3B}"/>
                </a:ext>
              </a:extLst>
            </p:cNvPr>
            <p:cNvSpPr/>
            <p:nvPr/>
          </p:nvSpPr>
          <p:spPr>
            <a:xfrm>
              <a:off x="936514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58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8E0A01C1-EFDD-96C4-BA30-119A49DE0083}"/>
                </a:ext>
              </a:extLst>
            </p:cNvPr>
            <p:cNvSpPr/>
            <p:nvPr/>
          </p:nvSpPr>
          <p:spPr>
            <a:xfrm>
              <a:off x="896596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95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6959F303-1616-9B83-7095-5CAD485B08EB}"/>
                </a:ext>
              </a:extLst>
            </p:cNvPr>
            <p:cNvSpPr/>
            <p:nvPr/>
          </p:nvSpPr>
          <p:spPr>
            <a:xfrm>
              <a:off x="856819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7 w 122286"/>
                <a:gd name="connsiteY1" fmla="*/ 224953 h 235078"/>
                <a:gd name="connsiteX2" fmla="*/ 112161 w 122286"/>
                <a:gd name="connsiteY2" fmla="*/ 117539 h 235078"/>
                <a:gd name="connsiteX3" fmla="*/ 4747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7 w 122286"/>
                <a:gd name="connsiteY6" fmla="*/ 0 h 235078"/>
                <a:gd name="connsiteX7" fmla="*/ 122287 w 122286"/>
                <a:gd name="connsiteY7" fmla="*/ 117539 h 235078"/>
                <a:gd name="connsiteX8" fmla="*/ 4747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7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7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7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7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388FEE2-6A86-DFA9-6004-384004A56D62}"/>
                </a:ext>
              </a:extLst>
            </p:cNvPr>
            <p:cNvSpPr/>
            <p:nvPr/>
          </p:nvSpPr>
          <p:spPr>
            <a:xfrm>
              <a:off x="816896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7 w 122286"/>
                <a:gd name="connsiteY1" fmla="*/ 224953 h 235078"/>
                <a:gd name="connsiteX2" fmla="*/ 112161 w 122286"/>
                <a:gd name="connsiteY2" fmla="*/ 117539 h 235078"/>
                <a:gd name="connsiteX3" fmla="*/ 4747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7 w 122286"/>
                <a:gd name="connsiteY6" fmla="*/ 0 h 235078"/>
                <a:gd name="connsiteX7" fmla="*/ 122287 w 122286"/>
                <a:gd name="connsiteY7" fmla="*/ 117539 h 235078"/>
                <a:gd name="connsiteX8" fmla="*/ 4747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7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7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7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7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8B1EBCF7-47C4-BA2D-FECB-F9592978C84F}"/>
                </a:ext>
              </a:extLst>
            </p:cNvPr>
            <p:cNvSpPr/>
            <p:nvPr/>
          </p:nvSpPr>
          <p:spPr>
            <a:xfrm>
              <a:off x="777123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95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99C95259-23B3-5D3A-3A97-C2DB10B2EBAF}"/>
                </a:ext>
              </a:extLst>
            </p:cNvPr>
            <p:cNvSpPr/>
            <p:nvPr/>
          </p:nvSpPr>
          <p:spPr>
            <a:xfrm>
              <a:off x="737201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95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942F71B9-2BA9-E425-B375-6E4021BCCF68}"/>
                </a:ext>
              </a:extLst>
            </p:cNvPr>
            <p:cNvSpPr/>
            <p:nvPr/>
          </p:nvSpPr>
          <p:spPr>
            <a:xfrm>
              <a:off x="697424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7 w 122286"/>
                <a:gd name="connsiteY1" fmla="*/ 224953 h 235078"/>
                <a:gd name="connsiteX2" fmla="*/ 112161 w 122286"/>
                <a:gd name="connsiteY2" fmla="*/ 117539 h 235078"/>
                <a:gd name="connsiteX3" fmla="*/ 4747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7 w 122286"/>
                <a:gd name="connsiteY6" fmla="*/ 0 h 235078"/>
                <a:gd name="connsiteX7" fmla="*/ 122287 w 122286"/>
                <a:gd name="connsiteY7" fmla="*/ 117539 h 235078"/>
                <a:gd name="connsiteX8" fmla="*/ 4747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7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7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7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7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F529A6D5-1D24-BCA1-E26A-4965C98158EF}"/>
                </a:ext>
              </a:extLst>
            </p:cNvPr>
            <p:cNvSpPr/>
            <p:nvPr/>
          </p:nvSpPr>
          <p:spPr>
            <a:xfrm>
              <a:off x="213416" y="4875061"/>
              <a:ext cx="923432" cy="923433"/>
            </a:xfrm>
            <a:custGeom>
              <a:avLst/>
              <a:gdLst>
                <a:gd name="connsiteX0" fmla="*/ 117539 w 235078"/>
                <a:gd name="connsiteY0" fmla="*/ 10163 h 235078"/>
                <a:gd name="connsiteX1" fmla="*/ 224953 w 235078"/>
                <a:gd name="connsiteY1" fmla="*/ 117576 h 235078"/>
                <a:gd name="connsiteX2" fmla="*/ 117539 w 235078"/>
                <a:gd name="connsiteY2" fmla="*/ 224990 h 235078"/>
                <a:gd name="connsiteX3" fmla="*/ 10126 w 235078"/>
                <a:gd name="connsiteY3" fmla="*/ 117576 h 235078"/>
                <a:gd name="connsiteX4" fmla="*/ 117539 w 235078"/>
                <a:gd name="connsiteY4" fmla="*/ 10163 h 235078"/>
                <a:gd name="connsiteX5" fmla="*/ 117539 w 235078"/>
                <a:gd name="connsiteY5" fmla="*/ 235078 h 235078"/>
                <a:gd name="connsiteX6" fmla="*/ 235078 w 235078"/>
                <a:gd name="connsiteY6" fmla="*/ 117539 h 235078"/>
                <a:gd name="connsiteX7" fmla="*/ 117539 w 235078"/>
                <a:gd name="connsiteY7" fmla="*/ 0 h 235078"/>
                <a:gd name="connsiteX8" fmla="*/ 0 w 235078"/>
                <a:gd name="connsiteY8" fmla="*/ 117539 h 235078"/>
                <a:gd name="connsiteX9" fmla="*/ 117539 w 235078"/>
                <a:gd name="connsiteY9" fmla="*/ 235078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078" h="235078">
                  <a:moveTo>
                    <a:pt x="117539" y="10163"/>
                  </a:moveTo>
                  <a:cubicBezTo>
                    <a:pt x="176773" y="10163"/>
                    <a:pt x="224953" y="58343"/>
                    <a:pt x="224953" y="117576"/>
                  </a:cubicBezTo>
                  <a:cubicBezTo>
                    <a:pt x="224953" y="176810"/>
                    <a:pt x="176773" y="224990"/>
                    <a:pt x="117539" y="224990"/>
                  </a:cubicBezTo>
                  <a:cubicBezTo>
                    <a:pt x="58306" y="224990"/>
                    <a:pt x="10126" y="176810"/>
                    <a:pt x="10126" y="117576"/>
                  </a:cubicBezTo>
                  <a:cubicBezTo>
                    <a:pt x="10126" y="58343"/>
                    <a:pt x="58306" y="10163"/>
                    <a:pt x="117539" y="10163"/>
                  </a:cubicBezTo>
                  <a:moveTo>
                    <a:pt x="117539" y="235078"/>
                  </a:moveTo>
                  <a:cubicBezTo>
                    <a:pt x="182336" y="235078"/>
                    <a:pt x="235078" y="182373"/>
                    <a:pt x="235078" y="117539"/>
                  </a:cubicBezTo>
                  <a:cubicBezTo>
                    <a:pt x="235078" y="52705"/>
                    <a:pt x="182336" y="0"/>
                    <a:pt x="117539" y="0"/>
                  </a:cubicBezTo>
                  <a:cubicBezTo>
                    <a:pt x="52743" y="0"/>
                    <a:pt x="0" y="52705"/>
                    <a:pt x="0" y="117539"/>
                  </a:cubicBezTo>
                  <a:cubicBezTo>
                    <a:pt x="0" y="182373"/>
                    <a:pt x="52705" y="235078"/>
                    <a:pt x="117539" y="235078"/>
                  </a:cubicBezTo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3D928F0E-B11E-E80E-AB2A-3A6449694E22}"/>
                </a:ext>
              </a:extLst>
            </p:cNvPr>
            <p:cNvSpPr/>
            <p:nvPr/>
          </p:nvSpPr>
          <p:spPr>
            <a:xfrm>
              <a:off x="151786" y="4813431"/>
              <a:ext cx="1046691" cy="1046837"/>
            </a:xfrm>
            <a:custGeom>
              <a:avLst/>
              <a:gdLst>
                <a:gd name="connsiteX0" fmla="*/ 133228 w 266456"/>
                <a:gd name="connsiteY0" fmla="*/ 155557 h 266493"/>
                <a:gd name="connsiteX1" fmla="*/ 155520 w 266456"/>
                <a:gd name="connsiteY1" fmla="*/ 133265 h 266493"/>
                <a:gd name="connsiteX2" fmla="*/ 133228 w 266456"/>
                <a:gd name="connsiteY2" fmla="*/ 110974 h 266493"/>
                <a:gd name="connsiteX3" fmla="*/ 110937 w 266456"/>
                <a:gd name="connsiteY3" fmla="*/ 133265 h 266493"/>
                <a:gd name="connsiteX4" fmla="*/ 133228 w 266456"/>
                <a:gd name="connsiteY4" fmla="*/ 155557 h 266493"/>
                <a:gd name="connsiteX5" fmla="*/ 133228 w 266456"/>
                <a:gd name="connsiteY5" fmla="*/ 0 h 266493"/>
                <a:gd name="connsiteX6" fmla="*/ 266457 w 266456"/>
                <a:gd name="connsiteY6" fmla="*/ 133265 h 266493"/>
                <a:gd name="connsiteX7" fmla="*/ 133228 w 266456"/>
                <a:gd name="connsiteY7" fmla="*/ 266494 h 266493"/>
                <a:gd name="connsiteX8" fmla="*/ 0 w 266456"/>
                <a:gd name="connsiteY8" fmla="*/ 133265 h 266493"/>
                <a:gd name="connsiteX9" fmla="*/ 133228 w 266456"/>
                <a:gd name="connsiteY9" fmla="*/ 0 h 26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456" h="266493">
                  <a:moveTo>
                    <a:pt x="133228" y="155557"/>
                  </a:moveTo>
                  <a:cubicBezTo>
                    <a:pt x="145542" y="155557"/>
                    <a:pt x="155520" y="145580"/>
                    <a:pt x="155520" y="133265"/>
                  </a:cubicBezTo>
                  <a:cubicBezTo>
                    <a:pt x="155520" y="120951"/>
                    <a:pt x="145542" y="110974"/>
                    <a:pt x="133228" y="110974"/>
                  </a:cubicBezTo>
                  <a:cubicBezTo>
                    <a:pt x="120914" y="110974"/>
                    <a:pt x="110937" y="120951"/>
                    <a:pt x="110937" y="133265"/>
                  </a:cubicBezTo>
                  <a:cubicBezTo>
                    <a:pt x="110937" y="145580"/>
                    <a:pt x="120914" y="155557"/>
                    <a:pt x="133228" y="155557"/>
                  </a:cubicBezTo>
                  <a:moveTo>
                    <a:pt x="133228" y="0"/>
                  </a:moveTo>
                  <a:cubicBezTo>
                    <a:pt x="206816" y="0"/>
                    <a:pt x="266457" y="59641"/>
                    <a:pt x="266457" y="133265"/>
                  </a:cubicBezTo>
                  <a:cubicBezTo>
                    <a:pt x="266457" y="206890"/>
                    <a:pt x="206816" y="266494"/>
                    <a:pt x="133228" y="266494"/>
                  </a:cubicBezTo>
                  <a:cubicBezTo>
                    <a:pt x="59641" y="266494"/>
                    <a:pt x="0" y="206853"/>
                    <a:pt x="0" y="133265"/>
                  </a:cubicBezTo>
                  <a:cubicBezTo>
                    <a:pt x="0" y="59678"/>
                    <a:pt x="59641" y="0"/>
                    <a:pt x="133228" y="0"/>
                  </a:cubicBezTo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F36012F0-623D-62DB-D8F1-11BE091E25C4}"/>
                </a:ext>
              </a:extLst>
            </p:cNvPr>
            <p:cNvSpPr/>
            <p:nvPr/>
          </p:nvSpPr>
          <p:spPr>
            <a:xfrm>
              <a:off x="260613" y="4866607"/>
              <a:ext cx="828999" cy="940332"/>
            </a:xfrm>
            <a:custGeom>
              <a:avLst/>
              <a:gdLst>
                <a:gd name="connsiteX0" fmla="*/ 105525 w 211038"/>
                <a:gd name="connsiteY0" fmla="*/ 142019 h 239380"/>
                <a:gd name="connsiteX1" fmla="*/ 127816 w 211038"/>
                <a:gd name="connsiteY1" fmla="*/ 119727 h 239380"/>
                <a:gd name="connsiteX2" fmla="*/ 105525 w 211038"/>
                <a:gd name="connsiteY2" fmla="*/ 97437 h 239380"/>
                <a:gd name="connsiteX3" fmla="*/ 83234 w 211038"/>
                <a:gd name="connsiteY3" fmla="*/ 119727 h 239380"/>
                <a:gd name="connsiteX4" fmla="*/ 105525 w 211038"/>
                <a:gd name="connsiteY4" fmla="*/ 142019 h 239380"/>
                <a:gd name="connsiteX5" fmla="*/ 1709 w 211038"/>
                <a:gd name="connsiteY5" fmla="*/ 172507 h 239380"/>
                <a:gd name="connsiteX6" fmla="*/ 38058 w 211038"/>
                <a:gd name="connsiteY6" fmla="*/ 151514 h 239380"/>
                <a:gd name="connsiteX7" fmla="*/ 30936 w 211038"/>
                <a:gd name="connsiteY7" fmla="*/ 119691 h 239380"/>
                <a:gd name="connsiteX8" fmla="*/ 38058 w 211038"/>
                <a:gd name="connsiteY8" fmla="*/ 87867 h 239380"/>
                <a:gd name="connsiteX9" fmla="*/ 1709 w 211038"/>
                <a:gd name="connsiteY9" fmla="*/ 66874 h 239380"/>
                <a:gd name="connsiteX10" fmla="*/ 448 w 211038"/>
                <a:gd name="connsiteY10" fmla="*/ 62238 h 239380"/>
                <a:gd name="connsiteX11" fmla="*/ 3230 w 211038"/>
                <a:gd name="connsiteY11" fmla="*/ 57416 h 239380"/>
                <a:gd name="connsiteX12" fmla="*/ 7866 w 211038"/>
                <a:gd name="connsiteY12" fmla="*/ 56192 h 239380"/>
                <a:gd name="connsiteX13" fmla="*/ 44252 w 211038"/>
                <a:gd name="connsiteY13" fmla="*/ 77185 h 239380"/>
                <a:gd name="connsiteX14" fmla="*/ 99331 w 211038"/>
                <a:gd name="connsiteY14" fmla="*/ 45399 h 239380"/>
                <a:gd name="connsiteX15" fmla="*/ 99331 w 211038"/>
                <a:gd name="connsiteY15" fmla="*/ 3375 h 239380"/>
                <a:gd name="connsiteX16" fmla="*/ 102743 w 211038"/>
                <a:gd name="connsiteY16" fmla="*/ 0 h 239380"/>
                <a:gd name="connsiteX17" fmla="*/ 108307 w 211038"/>
                <a:gd name="connsiteY17" fmla="*/ 0 h 239380"/>
                <a:gd name="connsiteX18" fmla="*/ 111682 w 211038"/>
                <a:gd name="connsiteY18" fmla="*/ 3375 h 239380"/>
                <a:gd name="connsiteX19" fmla="*/ 111682 w 211038"/>
                <a:gd name="connsiteY19" fmla="*/ 45399 h 239380"/>
                <a:gd name="connsiteX20" fmla="*/ 166761 w 211038"/>
                <a:gd name="connsiteY20" fmla="*/ 77185 h 239380"/>
                <a:gd name="connsiteX21" fmla="*/ 203147 w 211038"/>
                <a:gd name="connsiteY21" fmla="*/ 56192 h 239380"/>
                <a:gd name="connsiteX22" fmla="*/ 207783 w 211038"/>
                <a:gd name="connsiteY22" fmla="*/ 57416 h 239380"/>
                <a:gd name="connsiteX23" fmla="*/ 210565 w 211038"/>
                <a:gd name="connsiteY23" fmla="*/ 62238 h 239380"/>
                <a:gd name="connsiteX24" fmla="*/ 209341 w 211038"/>
                <a:gd name="connsiteY24" fmla="*/ 66874 h 239380"/>
                <a:gd name="connsiteX25" fmla="*/ 172992 w 211038"/>
                <a:gd name="connsiteY25" fmla="*/ 87867 h 239380"/>
                <a:gd name="connsiteX26" fmla="*/ 180113 w 211038"/>
                <a:gd name="connsiteY26" fmla="*/ 119691 h 239380"/>
                <a:gd name="connsiteX27" fmla="*/ 172992 w 211038"/>
                <a:gd name="connsiteY27" fmla="*/ 151514 h 239380"/>
                <a:gd name="connsiteX28" fmla="*/ 209341 w 211038"/>
                <a:gd name="connsiteY28" fmla="*/ 172507 h 239380"/>
                <a:gd name="connsiteX29" fmla="*/ 210565 w 211038"/>
                <a:gd name="connsiteY29" fmla="*/ 177144 h 239380"/>
                <a:gd name="connsiteX30" fmla="*/ 207783 w 211038"/>
                <a:gd name="connsiteY30" fmla="*/ 181965 h 239380"/>
                <a:gd name="connsiteX31" fmla="*/ 203147 w 211038"/>
                <a:gd name="connsiteY31" fmla="*/ 183189 h 239380"/>
                <a:gd name="connsiteX32" fmla="*/ 166761 w 211038"/>
                <a:gd name="connsiteY32" fmla="*/ 162196 h 239380"/>
                <a:gd name="connsiteX33" fmla="*/ 111682 w 211038"/>
                <a:gd name="connsiteY33" fmla="*/ 193982 h 239380"/>
                <a:gd name="connsiteX34" fmla="*/ 111682 w 211038"/>
                <a:gd name="connsiteY34" fmla="*/ 236006 h 239380"/>
                <a:gd name="connsiteX35" fmla="*/ 108307 w 211038"/>
                <a:gd name="connsiteY35" fmla="*/ 239381 h 239380"/>
                <a:gd name="connsiteX36" fmla="*/ 102743 w 211038"/>
                <a:gd name="connsiteY36" fmla="*/ 239381 h 239380"/>
                <a:gd name="connsiteX37" fmla="*/ 99331 w 211038"/>
                <a:gd name="connsiteY37" fmla="*/ 236006 h 239380"/>
                <a:gd name="connsiteX38" fmla="*/ 99331 w 211038"/>
                <a:gd name="connsiteY38" fmla="*/ 193982 h 239380"/>
                <a:gd name="connsiteX39" fmla="*/ 44252 w 211038"/>
                <a:gd name="connsiteY39" fmla="*/ 162196 h 239380"/>
                <a:gd name="connsiteX40" fmla="*/ 7866 w 211038"/>
                <a:gd name="connsiteY40" fmla="*/ 183189 h 239380"/>
                <a:gd name="connsiteX41" fmla="*/ 3230 w 211038"/>
                <a:gd name="connsiteY41" fmla="*/ 181965 h 239380"/>
                <a:gd name="connsiteX42" fmla="*/ 448 w 211038"/>
                <a:gd name="connsiteY42" fmla="*/ 177144 h 239380"/>
                <a:gd name="connsiteX43" fmla="*/ 1709 w 211038"/>
                <a:gd name="connsiteY43" fmla="*/ 172507 h 239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1038" h="239380">
                  <a:moveTo>
                    <a:pt x="105525" y="142019"/>
                  </a:moveTo>
                  <a:cubicBezTo>
                    <a:pt x="117839" y="142019"/>
                    <a:pt x="127816" y="132042"/>
                    <a:pt x="127816" y="119727"/>
                  </a:cubicBezTo>
                  <a:cubicBezTo>
                    <a:pt x="127816" y="107414"/>
                    <a:pt x="117839" y="97437"/>
                    <a:pt x="105525" y="97437"/>
                  </a:cubicBezTo>
                  <a:cubicBezTo>
                    <a:pt x="93211" y="97437"/>
                    <a:pt x="83234" y="107414"/>
                    <a:pt x="83234" y="119727"/>
                  </a:cubicBezTo>
                  <a:cubicBezTo>
                    <a:pt x="83234" y="132042"/>
                    <a:pt x="93211" y="142019"/>
                    <a:pt x="105525" y="142019"/>
                  </a:cubicBezTo>
                  <a:moveTo>
                    <a:pt x="1709" y="172507"/>
                  </a:moveTo>
                  <a:lnTo>
                    <a:pt x="38058" y="151514"/>
                  </a:lnTo>
                  <a:cubicBezTo>
                    <a:pt x="33496" y="141871"/>
                    <a:pt x="30936" y="131077"/>
                    <a:pt x="30936" y="119691"/>
                  </a:cubicBezTo>
                  <a:cubicBezTo>
                    <a:pt x="30936" y="108304"/>
                    <a:pt x="33496" y="97510"/>
                    <a:pt x="38058" y="87867"/>
                  </a:cubicBezTo>
                  <a:lnTo>
                    <a:pt x="1709" y="66874"/>
                  </a:lnTo>
                  <a:cubicBezTo>
                    <a:pt x="77" y="65947"/>
                    <a:pt x="-479" y="63870"/>
                    <a:pt x="448" y="62238"/>
                  </a:cubicBezTo>
                  <a:lnTo>
                    <a:pt x="3230" y="57416"/>
                  </a:lnTo>
                  <a:cubicBezTo>
                    <a:pt x="4157" y="55784"/>
                    <a:pt x="6234" y="55228"/>
                    <a:pt x="7866" y="56192"/>
                  </a:cubicBezTo>
                  <a:lnTo>
                    <a:pt x="44252" y="77185"/>
                  </a:lnTo>
                  <a:cubicBezTo>
                    <a:pt x="56603" y="59382"/>
                    <a:pt x="76520" y="47253"/>
                    <a:pt x="99331" y="45399"/>
                  </a:cubicBezTo>
                  <a:lnTo>
                    <a:pt x="99331" y="3375"/>
                  </a:lnTo>
                  <a:cubicBezTo>
                    <a:pt x="99331" y="1484"/>
                    <a:pt x="100851" y="0"/>
                    <a:pt x="102743" y="0"/>
                  </a:cubicBezTo>
                  <a:lnTo>
                    <a:pt x="108307" y="0"/>
                  </a:lnTo>
                  <a:cubicBezTo>
                    <a:pt x="110198" y="0"/>
                    <a:pt x="111682" y="1521"/>
                    <a:pt x="111682" y="3375"/>
                  </a:cubicBezTo>
                  <a:lnTo>
                    <a:pt x="111682" y="45399"/>
                  </a:lnTo>
                  <a:cubicBezTo>
                    <a:pt x="134492" y="47290"/>
                    <a:pt x="154410" y="59419"/>
                    <a:pt x="166761" y="77185"/>
                  </a:cubicBezTo>
                  <a:lnTo>
                    <a:pt x="203147" y="56192"/>
                  </a:lnTo>
                  <a:cubicBezTo>
                    <a:pt x="204779" y="55265"/>
                    <a:pt x="206856" y="55821"/>
                    <a:pt x="207783" y="57416"/>
                  </a:cubicBezTo>
                  <a:lnTo>
                    <a:pt x="210565" y="62238"/>
                  </a:lnTo>
                  <a:cubicBezTo>
                    <a:pt x="211492" y="63870"/>
                    <a:pt x="210936" y="65947"/>
                    <a:pt x="209341" y="66874"/>
                  </a:cubicBezTo>
                  <a:lnTo>
                    <a:pt x="172992" y="87867"/>
                  </a:lnTo>
                  <a:cubicBezTo>
                    <a:pt x="177554" y="97510"/>
                    <a:pt x="180113" y="108304"/>
                    <a:pt x="180113" y="119691"/>
                  </a:cubicBezTo>
                  <a:cubicBezTo>
                    <a:pt x="180113" y="131077"/>
                    <a:pt x="177554" y="141871"/>
                    <a:pt x="172992" y="151514"/>
                  </a:cubicBezTo>
                  <a:lnTo>
                    <a:pt x="209341" y="172507"/>
                  </a:lnTo>
                  <a:cubicBezTo>
                    <a:pt x="210973" y="173435"/>
                    <a:pt x="211529" y="175511"/>
                    <a:pt x="210565" y="177144"/>
                  </a:cubicBezTo>
                  <a:lnTo>
                    <a:pt x="207783" y="181965"/>
                  </a:lnTo>
                  <a:cubicBezTo>
                    <a:pt x="206856" y="183597"/>
                    <a:pt x="204779" y="184153"/>
                    <a:pt x="203147" y="183189"/>
                  </a:cubicBezTo>
                  <a:lnTo>
                    <a:pt x="166761" y="162196"/>
                  </a:lnTo>
                  <a:cubicBezTo>
                    <a:pt x="154410" y="179999"/>
                    <a:pt x="134492" y="192128"/>
                    <a:pt x="111682" y="193982"/>
                  </a:cubicBezTo>
                  <a:lnTo>
                    <a:pt x="111682" y="236006"/>
                  </a:lnTo>
                  <a:cubicBezTo>
                    <a:pt x="111682" y="237860"/>
                    <a:pt x="110161" y="239381"/>
                    <a:pt x="108307" y="239381"/>
                  </a:cubicBezTo>
                  <a:lnTo>
                    <a:pt x="102743" y="239381"/>
                  </a:lnTo>
                  <a:cubicBezTo>
                    <a:pt x="100851" y="239381"/>
                    <a:pt x="99331" y="237860"/>
                    <a:pt x="99331" y="236006"/>
                  </a:cubicBezTo>
                  <a:lnTo>
                    <a:pt x="99331" y="193982"/>
                  </a:lnTo>
                  <a:cubicBezTo>
                    <a:pt x="76520" y="192128"/>
                    <a:pt x="56603" y="179963"/>
                    <a:pt x="44252" y="162196"/>
                  </a:cubicBezTo>
                  <a:lnTo>
                    <a:pt x="7866" y="183189"/>
                  </a:lnTo>
                  <a:cubicBezTo>
                    <a:pt x="6234" y="184117"/>
                    <a:pt x="4157" y="183560"/>
                    <a:pt x="3230" y="181965"/>
                  </a:cubicBezTo>
                  <a:lnTo>
                    <a:pt x="448" y="177144"/>
                  </a:lnTo>
                  <a:cubicBezTo>
                    <a:pt x="-479" y="175511"/>
                    <a:pt x="77" y="173435"/>
                    <a:pt x="1709" y="172507"/>
                  </a:cubicBezTo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215" name="Freihandform: Form 214">
            <a:extLst>
              <a:ext uri="{FF2B5EF4-FFF2-40B4-BE49-F238E27FC236}">
                <a16:creationId xmlns:a16="http://schemas.microsoft.com/office/drawing/2014/main" id="{30414DF7-EFAB-3682-BD97-8681C5A08261}"/>
              </a:ext>
            </a:extLst>
          </p:cNvPr>
          <p:cNvSpPr/>
          <p:nvPr/>
        </p:nvSpPr>
        <p:spPr>
          <a:xfrm>
            <a:off x="8869808" y="4381252"/>
            <a:ext cx="260712" cy="260712"/>
          </a:xfrm>
          <a:custGeom>
            <a:avLst/>
            <a:gdLst>
              <a:gd name="connsiteX0" fmla="*/ 94729 w 94728"/>
              <a:gd name="connsiteY0" fmla="*/ 47364 h 94728"/>
              <a:gd name="connsiteX1" fmla="*/ 47364 w 94728"/>
              <a:gd name="connsiteY1" fmla="*/ 94729 h 94728"/>
              <a:gd name="connsiteX2" fmla="*/ 0 w 94728"/>
              <a:gd name="connsiteY2" fmla="*/ 47364 h 94728"/>
              <a:gd name="connsiteX3" fmla="*/ 47364 w 94728"/>
              <a:gd name="connsiteY3" fmla="*/ 0 h 94728"/>
              <a:gd name="connsiteX4" fmla="*/ 94729 w 94728"/>
              <a:gd name="connsiteY4" fmla="*/ 47364 h 94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" h="94728">
                <a:moveTo>
                  <a:pt x="94729" y="47364"/>
                </a:moveTo>
                <a:cubicBezTo>
                  <a:pt x="94729" y="73513"/>
                  <a:pt x="73513" y="94729"/>
                  <a:pt x="47364" y="94729"/>
                </a:cubicBezTo>
                <a:cubicBezTo>
                  <a:pt x="21216" y="94729"/>
                  <a:pt x="0" y="73513"/>
                  <a:pt x="0" y="47364"/>
                </a:cubicBezTo>
                <a:cubicBezTo>
                  <a:pt x="0" y="21216"/>
                  <a:pt x="21216" y="0"/>
                  <a:pt x="47364" y="0"/>
                </a:cubicBezTo>
                <a:cubicBezTo>
                  <a:pt x="73513" y="0"/>
                  <a:pt x="94729" y="21216"/>
                  <a:pt x="94729" y="47364"/>
                </a:cubicBezTo>
              </a:path>
            </a:pathLst>
          </a:custGeom>
          <a:solidFill>
            <a:srgbClr val="FDC83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16" name="Freihandform: Form 215">
            <a:extLst>
              <a:ext uri="{FF2B5EF4-FFF2-40B4-BE49-F238E27FC236}">
                <a16:creationId xmlns:a16="http://schemas.microsoft.com/office/drawing/2014/main" id="{D3B3EACA-860C-C0CE-7A5A-E1CAD62F7472}"/>
              </a:ext>
            </a:extLst>
          </p:cNvPr>
          <p:cNvSpPr/>
          <p:nvPr/>
        </p:nvSpPr>
        <p:spPr>
          <a:xfrm>
            <a:off x="8549479" y="4701581"/>
            <a:ext cx="304709" cy="207121"/>
          </a:xfrm>
          <a:custGeom>
            <a:avLst/>
            <a:gdLst>
              <a:gd name="connsiteX0" fmla="*/ 110677 w 110714"/>
              <a:gd name="connsiteY0" fmla="*/ 39130 h 75256"/>
              <a:gd name="connsiteX1" fmla="*/ 110677 w 110714"/>
              <a:gd name="connsiteY1" fmla="*/ 36015 h 75256"/>
              <a:gd name="connsiteX2" fmla="*/ 110677 w 110714"/>
              <a:gd name="connsiteY2" fmla="*/ 35866 h 75256"/>
              <a:gd name="connsiteX3" fmla="*/ 74811 w 110714"/>
              <a:gd name="connsiteY3" fmla="*/ 0 h 75256"/>
              <a:gd name="connsiteX4" fmla="*/ 41059 w 110714"/>
              <a:gd name="connsiteY4" fmla="*/ 23738 h 75256"/>
              <a:gd name="connsiteX5" fmla="*/ 27558 w 110714"/>
              <a:gd name="connsiteY5" fmla="*/ 20177 h 75256"/>
              <a:gd name="connsiteX6" fmla="*/ 0 w 110714"/>
              <a:gd name="connsiteY6" fmla="*/ 47735 h 75256"/>
              <a:gd name="connsiteX7" fmla="*/ 27039 w 110714"/>
              <a:gd name="connsiteY7" fmla="*/ 75256 h 75256"/>
              <a:gd name="connsiteX8" fmla="*/ 27039 w 110714"/>
              <a:gd name="connsiteY8" fmla="*/ 75256 h 75256"/>
              <a:gd name="connsiteX9" fmla="*/ 74589 w 110714"/>
              <a:gd name="connsiteY9" fmla="*/ 75256 h 75256"/>
              <a:gd name="connsiteX10" fmla="*/ 74589 w 110714"/>
              <a:gd name="connsiteY10" fmla="*/ 75256 h 75256"/>
              <a:gd name="connsiteX11" fmla="*/ 74774 w 110714"/>
              <a:gd name="connsiteY11" fmla="*/ 75256 h 75256"/>
              <a:gd name="connsiteX12" fmla="*/ 110715 w 110714"/>
              <a:gd name="connsiteY12" fmla="*/ 39316 h 75256"/>
              <a:gd name="connsiteX13" fmla="*/ 110715 w 110714"/>
              <a:gd name="connsiteY13" fmla="*/ 39130 h 75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714" h="75256">
                <a:moveTo>
                  <a:pt x="110677" y="39130"/>
                </a:moveTo>
                <a:lnTo>
                  <a:pt x="110677" y="36015"/>
                </a:lnTo>
                <a:cubicBezTo>
                  <a:pt x="110677" y="36015"/>
                  <a:pt x="110677" y="35941"/>
                  <a:pt x="110677" y="35866"/>
                </a:cubicBezTo>
                <a:cubicBezTo>
                  <a:pt x="110677" y="16060"/>
                  <a:pt x="94617" y="0"/>
                  <a:pt x="74811" y="0"/>
                </a:cubicBezTo>
                <a:cubicBezTo>
                  <a:pt x="59270" y="0"/>
                  <a:pt x="46029" y="9903"/>
                  <a:pt x="41059" y="23738"/>
                </a:cubicBezTo>
                <a:cubicBezTo>
                  <a:pt x="37053" y="21475"/>
                  <a:pt x="32454" y="20177"/>
                  <a:pt x="27558" y="20177"/>
                </a:cubicBezTo>
                <a:cubicBezTo>
                  <a:pt x="12351" y="20177"/>
                  <a:pt x="0" y="32491"/>
                  <a:pt x="0" y="47735"/>
                </a:cubicBezTo>
                <a:cubicBezTo>
                  <a:pt x="0" y="62979"/>
                  <a:pt x="12054" y="74960"/>
                  <a:pt x="27039" y="75256"/>
                </a:cubicBezTo>
                <a:lnTo>
                  <a:pt x="27039" y="75256"/>
                </a:lnTo>
                <a:cubicBezTo>
                  <a:pt x="27039" y="75256"/>
                  <a:pt x="74589" y="75256"/>
                  <a:pt x="74589" y="75256"/>
                </a:cubicBezTo>
                <a:lnTo>
                  <a:pt x="74589" y="75256"/>
                </a:lnTo>
                <a:cubicBezTo>
                  <a:pt x="74589" y="75256"/>
                  <a:pt x="74700" y="75256"/>
                  <a:pt x="74774" y="75256"/>
                </a:cubicBezTo>
                <a:cubicBezTo>
                  <a:pt x="94617" y="75256"/>
                  <a:pt x="110715" y="59159"/>
                  <a:pt x="110715" y="39316"/>
                </a:cubicBezTo>
                <a:cubicBezTo>
                  <a:pt x="110715" y="39279"/>
                  <a:pt x="110715" y="39204"/>
                  <a:pt x="110715" y="39130"/>
                </a:cubicBez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17" name="Freihandform: Form 216">
            <a:extLst>
              <a:ext uri="{FF2B5EF4-FFF2-40B4-BE49-F238E27FC236}">
                <a16:creationId xmlns:a16="http://schemas.microsoft.com/office/drawing/2014/main" id="{8C56205B-614A-7B0A-D32C-001C024BB48F}"/>
              </a:ext>
            </a:extLst>
          </p:cNvPr>
          <p:cNvSpPr/>
          <p:nvPr/>
        </p:nvSpPr>
        <p:spPr>
          <a:xfrm>
            <a:off x="9083361" y="4541417"/>
            <a:ext cx="704150" cy="378004"/>
          </a:xfrm>
          <a:custGeom>
            <a:avLst/>
            <a:gdLst>
              <a:gd name="connsiteX0" fmla="*/ 212564 w 255848"/>
              <a:gd name="connsiteY0" fmla="*/ 50777 h 137345"/>
              <a:gd name="connsiteX1" fmla="*/ 200696 w 255848"/>
              <a:gd name="connsiteY1" fmla="*/ 52446 h 137345"/>
              <a:gd name="connsiteX2" fmla="*/ 136529 w 255848"/>
              <a:gd name="connsiteY2" fmla="*/ 0 h 137345"/>
              <a:gd name="connsiteX3" fmla="*/ 74922 w 255848"/>
              <a:gd name="connsiteY3" fmla="*/ 43285 h 137345"/>
              <a:gd name="connsiteX4" fmla="*/ 50257 w 255848"/>
              <a:gd name="connsiteY4" fmla="*/ 36831 h 137345"/>
              <a:gd name="connsiteX5" fmla="*/ 0 w 255848"/>
              <a:gd name="connsiteY5" fmla="*/ 87088 h 137345"/>
              <a:gd name="connsiteX6" fmla="*/ 49330 w 255848"/>
              <a:gd name="connsiteY6" fmla="*/ 137346 h 137345"/>
              <a:gd name="connsiteX7" fmla="*/ 49330 w 255848"/>
              <a:gd name="connsiteY7" fmla="*/ 137346 h 137345"/>
              <a:gd name="connsiteX8" fmla="*/ 212119 w 255848"/>
              <a:gd name="connsiteY8" fmla="*/ 137346 h 137345"/>
              <a:gd name="connsiteX9" fmla="*/ 212119 w 255848"/>
              <a:gd name="connsiteY9" fmla="*/ 137346 h 137345"/>
              <a:gd name="connsiteX10" fmla="*/ 212564 w 255848"/>
              <a:gd name="connsiteY10" fmla="*/ 137346 h 137345"/>
              <a:gd name="connsiteX11" fmla="*/ 255849 w 255848"/>
              <a:gd name="connsiteY11" fmla="*/ 94061 h 137345"/>
              <a:gd name="connsiteX12" fmla="*/ 212564 w 255848"/>
              <a:gd name="connsiteY12" fmla="*/ 50777 h 13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5848" h="137345">
                <a:moveTo>
                  <a:pt x="212564" y="50777"/>
                </a:moveTo>
                <a:cubicBezTo>
                  <a:pt x="208447" y="50777"/>
                  <a:pt x="204479" y="51370"/>
                  <a:pt x="200696" y="52446"/>
                </a:cubicBezTo>
                <a:cubicBezTo>
                  <a:pt x="194650" y="22551"/>
                  <a:pt x="168205" y="0"/>
                  <a:pt x="136529" y="0"/>
                </a:cubicBezTo>
                <a:cubicBezTo>
                  <a:pt x="108155" y="0"/>
                  <a:pt x="84010" y="18063"/>
                  <a:pt x="74922" y="43285"/>
                </a:cubicBezTo>
                <a:cubicBezTo>
                  <a:pt x="67653" y="39167"/>
                  <a:pt x="59233" y="36831"/>
                  <a:pt x="50257" y="36831"/>
                </a:cubicBezTo>
                <a:cubicBezTo>
                  <a:pt x="22476" y="36831"/>
                  <a:pt x="0" y="59345"/>
                  <a:pt x="0" y="87088"/>
                </a:cubicBezTo>
                <a:cubicBezTo>
                  <a:pt x="0" y="114832"/>
                  <a:pt x="21994" y="136826"/>
                  <a:pt x="49330" y="137346"/>
                </a:cubicBezTo>
                <a:lnTo>
                  <a:pt x="49330" y="137346"/>
                </a:lnTo>
                <a:cubicBezTo>
                  <a:pt x="49330" y="137346"/>
                  <a:pt x="212119" y="137346"/>
                  <a:pt x="212119" y="137346"/>
                </a:cubicBezTo>
                <a:lnTo>
                  <a:pt x="212119" y="137346"/>
                </a:lnTo>
                <a:cubicBezTo>
                  <a:pt x="212119" y="137346"/>
                  <a:pt x="212416" y="137346"/>
                  <a:pt x="212564" y="137346"/>
                </a:cubicBezTo>
                <a:cubicBezTo>
                  <a:pt x="236488" y="137346"/>
                  <a:pt x="255849" y="117947"/>
                  <a:pt x="255849" y="94061"/>
                </a:cubicBezTo>
                <a:cubicBezTo>
                  <a:pt x="255849" y="70175"/>
                  <a:pt x="236451" y="50777"/>
                  <a:pt x="212564" y="50777"/>
                </a:cubicBezTo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D0C76D46-5B2D-41AA-FED7-B9D7B64BA730}"/>
              </a:ext>
            </a:extLst>
          </p:cNvPr>
          <p:cNvSpPr/>
          <p:nvPr/>
        </p:nvSpPr>
        <p:spPr>
          <a:xfrm flipH="1">
            <a:off x="5410132" y="6334905"/>
            <a:ext cx="2132571" cy="212328"/>
          </a:xfrm>
          <a:custGeom>
            <a:avLst/>
            <a:gdLst>
              <a:gd name="connsiteX0" fmla="*/ 2258468 w 3043781"/>
              <a:gd name="connsiteY0" fmla="*/ 0 h 303052"/>
              <a:gd name="connsiteX1" fmla="*/ 2385078 w 3043781"/>
              <a:gd name="connsiteY1" fmla="*/ 0 h 303052"/>
              <a:gd name="connsiteX2" fmla="*/ 2385078 w 3043781"/>
              <a:gd name="connsiteY2" fmla="*/ 148030 h 303052"/>
              <a:gd name="connsiteX3" fmla="*/ 2413781 w 3043781"/>
              <a:gd name="connsiteY3" fmla="*/ 176733 h 303052"/>
              <a:gd name="connsiteX4" fmla="*/ 3043490 w 3043781"/>
              <a:gd name="connsiteY4" fmla="*/ 176733 h 303052"/>
              <a:gd name="connsiteX5" fmla="*/ 3043490 w 3043781"/>
              <a:gd name="connsiteY5" fmla="*/ 302907 h 303052"/>
              <a:gd name="connsiteX6" fmla="*/ 3043781 w 3043781"/>
              <a:gd name="connsiteY6" fmla="*/ 303052 h 303052"/>
              <a:gd name="connsiteX7" fmla="*/ 2414076 w 3043781"/>
              <a:gd name="connsiteY7" fmla="*/ 303052 h 303052"/>
              <a:gd name="connsiteX8" fmla="*/ 2321991 w 3043781"/>
              <a:gd name="connsiteY8" fmla="*/ 272456 h 303052"/>
              <a:gd name="connsiteX9" fmla="*/ 2229910 w 3043781"/>
              <a:gd name="connsiteY9" fmla="*/ 303052 h 303052"/>
              <a:gd name="connsiteX10" fmla="*/ 1645662 w 3043781"/>
              <a:gd name="connsiteY10" fmla="*/ 303052 h 303052"/>
              <a:gd name="connsiteX11" fmla="*/ 0 w 3043781"/>
              <a:gd name="connsiteY11" fmla="*/ 303052 h 303052"/>
              <a:gd name="connsiteX12" fmla="*/ 0 w 3043781"/>
              <a:gd name="connsiteY12" fmla="*/ 176733 h 303052"/>
              <a:gd name="connsiteX13" fmla="*/ 564250 w 3043781"/>
              <a:gd name="connsiteY13" fmla="*/ 176733 h 303052"/>
              <a:gd name="connsiteX14" fmla="*/ 1600205 w 3043781"/>
              <a:gd name="connsiteY14" fmla="*/ 176733 h 303052"/>
              <a:gd name="connsiteX15" fmla="*/ 2229764 w 3043781"/>
              <a:gd name="connsiteY15" fmla="*/ 176733 h 303052"/>
              <a:gd name="connsiteX16" fmla="*/ 2258468 w 3043781"/>
              <a:gd name="connsiteY16" fmla="*/ 148030 h 303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43781" h="303052">
                <a:moveTo>
                  <a:pt x="2258468" y="0"/>
                </a:moveTo>
                <a:lnTo>
                  <a:pt x="2385078" y="0"/>
                </a:lnTo>
                <a:lnTo>
                  <a:pt x="2385078" y="148030"/>
                </a:lnTo>
                <a:cubicBezTo>
                  <a:pt x="2385078" y="163912"/>
                  <a:pt x="2397899" y="176733"/>
                  <a:pt x="2413781" y="176733"/>
                </a:cubicBezTo>
                <a:lnTo>
                  <a:pt x="3043490" y="176733"/>
                </a:lnTo>
                <a:lnTo>
                  <a:pt x="3043490" y="302907"/>
                </a:lnTo>
                <a:lnTo>
                  <a:pt x="3043781" y="303052"/>
                </a:lnTo>
                <a:lnTo>
                  <a:pt x="2414076" y="303052"/>
                </a:lnTo>
                <a:cubicBezTo>
                  <a:pt x="2379542" y="303052"/>
                  <a:pt x="2347779" y="291543"/>
                  <a:pt x="2321991" y="272456"/>
                </a:cubicBezTo>
                <a:cubicBezTo>
                  <a:pt x="2296202" y="291543"/>
                  <a:pt x="2264443" y="303052"/>
                  <a:pt x="2229910" y="303052"/>
                </a:cubicBezTo>
                <a:cubicBezTo>
                  <a:pt x="2229910" y="303052"/>
                  <a:pt x="1645662" y="303052"/>
                  <a:pt x="1645662" y="303052"/>
                </a:cubicBezTo>
                <a:lnTo>
                  <a:pt x="0" y="303052"/>
                </a:lnTo>
                <a:lnTo>
                  <a:pt x="0" y="176733"/>
                </a:lnTo>
                <a:lnTo>
                  <a:pt x="564250" y="176733"/>
                </a:lnTo>
                <a:cubicBezTo>
                  <a:pt x="1139781" y="176733"/>
                  <a:pt x="1600205" y="176733"/>
                  <a:pt x="1600205" y="176733"/>
                </a:cubicBezTo>
                <a:lnTo>
                  <a:pt x="2229764" y="176733"/>
                </a:lnTo>
                <a:cubicBezTo>
                  <a:pt x="2245501" y="176733"/>
                  <a:pt x="2258468" y="163912"/>
                  <a:pt x="2258468" y="148030"/>
                </a:cubicBezTo>
                <a:close/>
              </a:path>
            </a:pathLst>
          </a:custGeom>
          <a:solidFill>
            <a:srgbClr val="424242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13417957-E089-ABDD-D862-9AE8BFB9D227}"/>
              </a:ext>
            </a:extLst>
          </p:cNvPr>
          <p:cNvSpPr/>
          <p:nvPr/>
        </p:nvSpPr>
        <p:spPr>
          <a:xfrm flipH="1">
            <a:off x="5410132" y="6334905"/>
            <a:ext cx="2132364" cy="186912"/>
          </a:xfrm>
          <a:custGeom>
            <a:avLst/>
            <a:gdLst>
              <a:gd name="connsiteX0" fmla="*/ 2294454 w 3043486"/>
              <a:gd name="connsiteY0" fmla="*/ 0 h 266776"/>
              <a:gd name="connsiteX1" fmla="*/ 2348946 w 3043486"/>
              <a:gd name="connsiteY1" fmla="*/ 0 h 266776"/>
              <a:gd name="connsiteX2" fmla="*/ 2348946 w 3043486"/>
              <a:gd name="connsiteY2" fmla="*/ 147885 h 266776"/>
              <a:gd name="connsiteX3" fmla="*/ 2413780 w 3043486"/>
              <a:gd name="connsiteY3" fmla="*/ 212720 h 266776"/>
              <a:gd name="connsiteX4" fmla="*/ 3043486 w 3043486"/>
              <a:gd name="connsiteY4" fmla="*/ 212720 h 266776"/>
              <a:gd name="connsiteX5" fmla="*/ 3043486 w 3043486"/>
              <a:gd name="connsiteY5" fmla="*/ 266776 h 266776"/>
              <a:gd name="connsiteX6" fmla="*/ 2413780 w 3043486"/>
              <a:gd name="connsiteY6" fmla="*/ 266776 h 266776"/>
              <a:gd name="connsiteX7" fmla="*/ 2321700 w 3043486"/>
              <a:gd name="connsiteY7" fmla="*/ 222191 h 266776"/>
              <a:gd name="connsiteX8" fmla="*/ 2229619 w 3043486"/>
              <a:gd name="connsiteY8" fmla="*/ 266776 h 266776"/>
              <a:gd name="connsiteX9" fmla="*/ 1645370 w 3043486"/>
              <a:gd name="connsiteY9" fmla="*/ 266776 h 266776"/>
              <a:gd name="connsiteX10" fmla="*/ 0 w 3043486"/>
              <a:gd name="connsiteY10" fmla="*/ 266776 h 266776"/>
              <a:gd name="connsiteX11" fmla="*/ 0 w 3043486"/>
              <a:gd name="connsiteY11" fmla="*/ 212720 h 266776"/>
              <a:gd name="connsiteX12" fmla="*/ 564104 w 3043486"/>
              <a:gd name="connsiteY12" fmla="*/ 212720 h 266776"/>
              <a:gd name="connsiteX13" fmla="*/ 1600059 w 3043486"/>
              <a:gd name="connsiteY13" fmla="*/ 212720 h 266776"/>
              <a:gd name="connsiteX14" fmla="*/ 2229619 w 3043486"/>
              <a:gd name="connsiteY14" fmla="*/ 212720 h 266776"/>
              <a:gd name="connsiteX15" fmla="*/ 2294454 w 3043486"/>
              <a:gd name="connsiteY15" fmla="*/ 147885 h 266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043486" h="266776">
                <a:moveTo>
                  <a:pt x="2294454" y="0"/>
                </a:moveTo>
                <a:lnTo>
                  <a:pt x="2348946" y="0"/>
                </a:lnTo>
                <a:lnTo>
                  <a:pt x="2348946" y="147885"/>
                </a:lnTo>
                <a:cubicBezTo>
                  <a:pt x="2348946" y="183581"/>
                  <a:pt x="2378085" y="212720"/>
                  <a:pt x="2413780" y="212720"/>
                </a:cubicBezTo>
                <a:lnTo>
                  <a:pt x="3043486" y="212720"/>
                </a:lnTo>
                <a:lnTo>
                  <a:pt x="3043486" y="266776"/>
                </a:lnTo>
                <a:lnTo>
                  <a:pt x="2413780" y="266776"/>
                </a:lnTo>
                <a:cubicBezTo>
                  <a:pt x="2376482" y="266776"/>
                  <a:pt x="2343552" y="249146"/>
                  <a:pt x="2321700" y="222191"/>
                </a:cubicBezTo>
                <a:cubicBezTo>
                  <a:pt x="2299843" y="249146"/>
                  <a:pt x="2266917" y="266776"/>
                  <a:pt x="2229619" y="266776"/>
                </a:cubicBezTo>
                <a:cubicBezTo>
                  <a:pt x="2229619" y="266776"/>
                  <a:pt x="1645370" y="266776"/>
                  <a:pt x="1645370" y="266776"/>
                </a:cubicBezTo>
                <a:lnTo>
                  <a:pt x="0" y="266776"/>
                </a:lnTo>
                <a:lnTo>
                  <a:pt x="0" y="212720"/>
                </a:lnTo>
                <a:lnTo>
                  <a:pt x="564104" y="212720"/>
                </a:lnTo>
                <a:cubicBezTo>
                  <a:pt x="1139635" y="212720"/>
                  <a:pt x="1600059" y="212720"/>
                  <a:pt x="1600059" y="212720"/>
                </a:cubicBezTo>
                <a:lnTo>
                  <a:pt x="2229619" y="212720"/>
                </a:lnTo>
                <a:cubicBezTo>
                  <a:pt x="2265314" y="212720"/>
                  <a:pt x="2294454" y="183581"/>
                  <a:pt x="2294454" y="147885"/>
                </a:cubicBezTo>
                <a:close/>
              </a:path>
            </a:pathLst>
          </a:custGeom>
          <a:solidFill>
            <a:srgbClr val="FC6538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1017CD29-B7AF-A37B-EFF3-828C1C214F0C}"/>
              </a:ext>
            </a:extLst>
          </p:cNvPr>
          <p:cNvSpPr/>
          <p:nvPr/>
        </p:nvSpPr>
        <p:spPr>
          <a:xfrm>
            <a:off x="5788854" y="6163954"/>
            <a:ext cx="252546" cy="171188"/>
          </a:xfrm>
          <a:custGeom>
            <a:avLst/>
            <a:gdLst>
              <a:gd name="connsiteX0" fmla="*/ 0 w 91761"/>
              <a:gd name="connsiteY0" fmla="*/ 0 h 62200"/>
              <a:gd name="connsiteX1" fmla="*/ 91761 w 91761"/>
              <a:gd name="connsiteY1" fmla="*/ 0 h 62200"/>
              <a:gd name="connsiteX2" fmla="*/ 91761 w 91761"/>
              <a:gd name="connsiteY2" fmla="*/ 62201 h 62200"/>
              <a:gd name="connsiteX3" fmla="*/ 0 w 91761"/>
              <a:gd name="connsiteY3" fmla="*/ 62201 h 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761" h="62200">
                <a:moveTo>
                  <a:pt x="0" y="0"/>
                </a:moveTo>
                <a:lnTo>
                  <a:pt x="91761" y="0"/>
                </a:lnTo>
                <a:lnTo>
                  <a:pt x="91761" y="62201"/>
                </a:lnTo>
                <a:lnTo>
                  <a:pt x="0" y="62201"/>
                </a:lnTo>
                <a:close/>
              </a:path>
            </a:pathLst>
          </a:custGeom>
          <a:solidFill>
            <a:schemeClr val="bg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430FE07-B6CF-0B8B-4DDB-0774BB411E0B}"/>
              </a:ext>
            </a:extLst>
          </p:cNvPr>
          <p:cNvGrpSpPr/>
          <p:nvPr/>
        </p:nvGrpSpPr>
        <p:grpSpPr>
          <a:xfrm rot="16200000">
            <a:off x="5811506" y="6037620"/>
            <a:ext cx="207241" cy="45425"/>
            <a:chOff x="6725972" y="6019227"/>
            <a:chExt cx="295792" cy="64835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110CC2FB-BE39-464D-5EF9-D6FA0D241037}"/>
                </a:ext>
              </a:extLst>
            </p:cNvPr>
            <p:cNvSpPr/>
            <p:nvPr/>
          </p:nvSpPr>
          <p:spPr>
            <a:xfrm>
              <a:off x="6930387" y="6019517"/>
              <a:ext cx="75614" cy="32195"/>
            </a:xfrm>
            <a:custGeom>
              <a:avLst/>
              <a:gdLst>
                <a:gd name="connsiteX0" fmla="*/ 0 w 19249"/>
                <a:gd name="connsiteY0" fmla="*/ 0 h 8196"/>
                <a:gd name="connsiteX1" fmla="*/ 19250 w 19249"/>
                <a:gd name="connsiteY1" fmla="*/ 0 h 8196"/>
                <a:gd name="connsiteX2" fmla="*/ 19250 w 19249"/>
                <a:gd name="connsiteY2" fmla="*/ 8197 h 8196"/>
                <a:gd name="connsiteX3" fmla="*/ 0 w 19249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9" h="8196">
                  <a:moveTo>
                    <a:pt x="0" y="0"/>
                  </a:moveTo>
                  <a:lnTo>
                    <a:pt x="19250" y="0"/>
                  </a:lnTo>
                  <a:lnTo>
                    <a:pt x="19250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FDC83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98898F6F-2862-CB64-CA9B-DE11C33E5E31}"/>
                </a:ext>
              </a:extLst>
            </p:cNvPr>
            <p:cNvSpPr/>
            <p:nvPr/>
          </p:nvSpPr>
          <p:spPr>
            <a:xfrm>
              <a:off x="6928639" y="6051717"/>
              <a:ext cx="77362" cy="32195"/>
            </a:xfrm>
            <a:custGeom>
              <a:avLst/>
              <a:gdLst>
                <a:gd name="connsiteX0" fmla="*/ 0 w 19694"/>
                <a:gd name="connsiteY0" fmla="*/ 0 h 8196"/>
                <a:gd name="connsiteX1" fmla="*/ 19695 w 19694"/>
                <a:gd name="connsiteY1" fmla="*/ 0 h 8196"/>
                <a:gd name="connsiteX2" fmla="*/ 19695 w 19694"/>
                <a:gd name="connsiteY2" fmla="*/ 8197 h 8196"/>
                <a:gd name="connsiteX3" fmla="*/ 0 w 1969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4" h="8196">
                  <a:moveTo>
                    <a:pt x="0" y="0"/>
                  </a:moveTo>
                  <a:lnTo>
                    <a:pt x="19695" y="0"/>
                  </a:lnTo>
                  <a:lnTo>
                    <a:pt x="1969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B3423A4-C7EB-6136-2A40-23799594F4D1}"/>
                </a:ext>
              </a:extLst>
            </p:cNvPr>
            <p:cNvSpPr/>
            <p:nvPr/>
          </p:nvSpPr>
          <p:spPr>
            <a:xfrm>
              <a:off x="6923104" y="6035544"/>
              <a:ext cx="54343" cy="32195"/>
            </a:xfrm>
            <a:custGeom>
              <a:avLst/>
              <a:gdLst>
                <a:gd name="connsiteX0" fmla="*/ 0 w 13834"/>
                <a:gd name="connsiteY0" fmla="*/ 0 h 8196"/>
                <a:gd name="connsiteX1" fmla="*/ 13835 w 13834"/>
                <a:gd name="connsiteY1" fmla="*/ 0 h 8196"/>
                <a:gd name="connsiteX2" fmla="*/ 13835 w 13834"/>
                <a:gd name="connsiteY2" fmla="*/ 8197 h 8196"/>
                <a:gd name="connsiteX3" fmla="*/ 0 w 1383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4" h="8196">
                  <a:moveTo>
                    <a:pt x="0" y="0"/>
                  </a:moveTo>
                  <a:lnTo>
                    <a:pt x="13835" y="0"/>
                  </a:lnTo>
                  <a:lnTo>
                    <a:pt x="1383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00024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F1AD231C-AF4A-54D6-DBE3-4B94EDF78B8A}"/>
                </a:ext>
              </a:extLst>
            </p:cNvPr>
            <p:cNvSpPr/>
            <p:nvPr/>
          </p:nvSpPr>
          <p:spPr>
            <a:xfrm>
              <a:off x="6967685" y="6041810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A52C1B72-A9D3-FCE5-C14B-D7303AE21D4C}"/>
                </a:ext>
              </a:extLst>
            </p:cNvPr>
            <p:cNvSpPr/>
            <p:nvPr/>
          </p:nvSpPr>
          <p:spPr>
            <a:xfrm>
              <a:off x="6961569" y="6035690"/>
              <a:ext cx="32195" cy="32341"/>
            </a:xfrm>
            <a:custGeom>
              <a:avLst/>
              <a:gdLst>
                <a:gd name="connsiteX0" fmla="*/ 4117 w 8196"/>
                <a:gd name="connsiteY0" fmla="*/ 0 h 8233"/>
                <a:gd name="connsiteX1" fmla="*/ 0 w 8196"/>
                <a:gd name="connsiteY1" fmla="*/ 4117 h 8233"/>
                <a:gd name="connsiteX2" fmla="*/ 4117 w 8196"/>
                <a:gd name="connsiteY2" fmla="*/ 8234 h 8233"/>
                <a:gd name="connsiteX3" fmla="*/ 8197 w 8196"/>
                <a:gd name="connsiteY3" fmla="*/ 4117 h 8233"/>
                <a:gd name="connsiteX4" fmla="*/ 4117 w 8196"/>
                <a:gd name="connsiteY4" fmla="*/ 0 h 8233"/>
                <a:gd name="connsiteX5" fmla="*/ 4117 w 8196"/>
                <a:gd name="connsiteY5" fmla="*/ 1855 h 8233"/>
                <a:gd name="connsiteX6" fmla="*/ 6342 w 8196"/>
                <a:gd name="connsiteY6" fmla="*/ 4080 h 8233"/>
                <a:gd name="connsiteX7" fmla="*/ 4117 w 8196"/>
                <a:gd name="connsiteY7" fmla="*/ 6305 h 8233"/>
                <a:gd name="connsiteX8" fmla="*/ 1892 w 8196"/>
                <a:gd name="connsiteY8" fmla="*/ 4080 h 8233"/>
                <a:gd name="connsiteX9" fmla="*/ 4117 w 8196"/>
                <a:gd name="connsiteY9" fmla="*/ 1855 h 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6" h="8233">
                  <a:moveTo>
                    <a:pt x="4117" y="0"/>
                  </a:moveTo>
                  <a:cubicBezTo>
                    <a:pt x="1855" y="0"/>
                    <a:pt x="0" y="1855"/>
                    <a:pt x="0" y="4117"/>
                  </a:cubicBezTo>
                  <a:cubicBezTo>
                    <a:pt x="0" y="6379"/>
                    <a:pt x="1817" y="8234"/>
                    <a:pt x="4117" y="8234"/>
                  </a:cubicBezTo>
                  <a:cubicBezTo>
                    <a:pt x="6417" y="8234"/>
                    <a:pt x="8197" y="6379"/>
                    <a:pt x="8197" y="4117"/>
                  </a:cubicBezTo>
                  <a:cubicBezTo>
                    <a:pt x="8197" y="1855"/>
                    <a:pt x="6342" y="0"/>
                    <a:pt x="4117" y="0"/>
                  </a:cubicBezTo>
                  <a:moveTo>
                    <a:pt x="4117" y="1855"/>
                  </a:moveTo>
                  <a:cubicBezTo>
                    <a:pt x="5341" y="1855"/>
                    <a:pt x="6342" y="2856"/>
                    <a:pt x="6342" y="4080"/>
                  </a:cubicBezTo>
                  <a:cubicBezTo>
                    <a:pt x="6342" y="5304"/>
                    <a:pt x="5341" y="6305"/>
                    <a:pt x="4117" y="6305"/>
                  </a:cubicBezTo>
                  <a:cubicBezTo>
                    <a:pt x="2893" y="6305"/>
                    <a:pt x="1892" y="5304"/>
                    <a:pt x="1892" y="4080"/>
                  </a:cubicBezTo>
                  <a:cubicBezTo>
                    <a:pt x="1892" y="2856"/>
                    <a:pt x="2893" y="1855"/>
                    <a:pt x="4117" y="1855"/>
                  </a:cubicBezTo>
                </a:path>
              </a:pathLst>
            </a:custGeom>
            <a:solidFill>
              <a:srgbClr val="00009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D7E9CA6D-36C8-F77D-155B-4EC46F6B6693}"/>
                </a:ext>
              </a:extLst>
            </p:cNvPr>
            <p:cNvSpPr/>
            <p:nvPr/>
          </p:nvSpPr>
          <p:spPr>
            <a:xfrm>
              <a:off x="6995953" y="602578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6 w 5192"/>
                <a:gd name="connsiteY1" fmla="*/ 5193 h 5192"/>
                <a:gd name="connsiteX2" fmla="*/ 0 w 5192"/>
                <a:gd name="connsiteY2" fmla="*/ 2597 h 5192"/>
                <a:gd name="connsiteX3" fmla="*/ 2596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6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6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ACBFC05F-CA3A-203A-4C1E-ABAD84E578DD}"/>
                </a:ext>
              </a:extLst>
            </p:cNvPr>
            <p:cNvSpPr/>
            <p:nvPr/>
          </p:nvSpPr>
          <p:spPr>
            <a:xfrm>
              <a:off x="6989514" y="6019635"/>
              <a:ext cx="32250" cy="32250"/>
            </a:xfrm>
            <a:custGeom>
              <a:avLst/>
              <a:gdLst>
                <a:gd name="connsiteX0" fmla="*/ 7648 w 8210"/>
                <a:gd name="connsiteY0" fmla="*/ 2047 h 8210"/>
                <a:gd name="connsiteX1" fmla="*/ 2047 w 8210"/>
                <a:gd name="connsiteY1" fmla="*/ 563 h 8210"/>
                <a:gd name="connsiteX2" fmla="*/ 563 w 8210"/>
                <a:gd name="connsiteY2" fmla="*/ 6164 h 8210"/>
                <a:gd name="connsiteX3" fmla="*/ 6164 w 8210"/>
                <a:gd name="connsiteY3" fmla="*/ 7648 h 8210"/>
                <a:gd name="connsiteX4" fmla="*/ 7648 w 8210"/>
                <a:gd name="connsiteY4" fmla="*/ 2047 h 8210"/>
                <a:gd name="connsiteX5" fmla="*/ 6016 w 8210"/>
                <a:gd name="connsiteY5" fmla="*/ 2974 h 8210"/>
                <a:gd name="connsiteX6" fmla="*/ 5199 w 8210"/>
                <a:gd name="connsiteY6" fmla="*/ 6016 h 8210"/>
                <a:gd name="connsiteX7" fmla="*/ 2158 w 8210"/>
                <a:gd name="connsiteY7" fmla="*/ 5199 h 8210"/>
                <a:gd name="connsiteX8" fmla="*/ 2974 w 8210"/>
                <a:gd name="connsiteY8" fmla="*/ 2158 h 8210"/>
                <a:gd name="connsiteX9" fmla="*/ 6016 w 8210"/>
                <a:gd name="connsiteY9" fmla="*/ 2974 h 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10" h="8210">
                  <a:moveTo>
                    <a:pt x="7648" y="2047"/>
                  </a:moveTo>
                  <a:cubicBezTo>
                    <a:pt x="6535" y="81"/>
                    <a:pt x="4013" y="-586"/>
                    <a:pt x="2047" y="563"/>
                  </a:cubicBezTo>
                  <a:cubicBezTo>
                    <a:pt x="81" y="1713"/>
                    <a:pt x="-586" y="4198"/>
                    <a:pt x="563" y="6164"/>
                  </a:cubicBezTo>
                  <a:cubicBezTo>
                    <a:pt x="1676" y="8130"/>
                    <a:pt x="4198" y="8798"/>
                    <a:pt x="6164" y="7648"/>
                  </a:cubicBezTo>
                  <a:cubicBezTo>
                    <a:pt x="8130" y="6535"/>
                    <a:pt x="8798" y="4013"/>
                    <a:pt x="7648" y="2047"/>
                  </a:cubicBezTo>
                  <a:moveTo>
                    <a:pt x="6016" y="2974"/>
                  </a:moveTo>
                  <a:cubicBezTo>
                    <a:pt x="6646" y="4050"/>
                    <a:pt x="6275" y="5422"/>
                    <a:pt x="5199" y="6016"/>
                  </a:cubicBezTo>
                  <a:cubicBezTo>
                    <a:pt x="4124" y="6646"/>
                    <a:pt x="2752" y="6275"/>
                    <a:pt x="2158" y="5199"/>
                  </a:cubicBezTo>
                  <a:cubicBezTo>
                    <a:pt x="1528" y="4124"/>
                    <a:pt x="1898" y="2752"/>
                    <a:pt x="2974" y="2158"/>
                  </a:cubicBezTo>
                  <a:cubicBezTo>
                    <a:pt x="4050" y="1528"/>
                    <a:pt x="5422" y="1898"/>
                    <a:pt x="6016" y="2974"/>
                  </a:cubicBezTo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641F52E-74FF-1663-49FD-D8291F847DDF}"/>
                </a:ext>
              </a:extLst>
            </p:cNvPr>
            <p:cNvSpPr/>
            <p:nvPr/>
          </p:nvSpPr>
          <p:spPr>
            <a:xfrm>
              <a:off x="6995513" y="605827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28334DEA-DE77-04C4-6CC0-37A25B7AF3BF}"/>
                </a:ext>
              </a:extLst>
            </p:cNvPr>
            <p:cNvSpPr/>
            <p:nvPr/>
          </p:nvSpPr>
          <p:spPr>
            <a:xfrm>
              <a:off x="6989546" y="6051787"/>
              <a:ext cx="32188" cy="32121"/>
            </a:xfrm>
            <a:custGeom>
              <a:avLst/>
              <a:gdLst>
                <a:gd name="connsiteX0" fmla="*/ 7639 w 8194"/>
                <a:gd name="connsiteY0" fmla="*/ 6139 h 8177"/>
                <a:gd name="connsiteX1" fmla="*/ 6156 w 8194"/>
                <a:gd name="connsiteY1" fmla="*/ 539 h 8177"/>
                <a:gd name="connsiteX2" fmla="*/ 555 w 8194"/>
                <a:gd name="connsiteY2" fmla="*/ 2022 h 8177"/>
                <a:gd name="connsiteX3" fmla="*/ 2039 w 8194"/>
                <a:gd name="connsiteY3" fmla="*/ 7623 h 8177"/>
                <a:gd name="connsiteX4" fmla="*/ 7639 w 8194"/>
                <a:gd name="connsiteY4" fmla="*/ 6139 h 8177"/>
                <a:gd name="connsiteX5" fmla="*/ 6008 w 8194"/>
                <a:gd name="connsiteY5" fmla="*/ 5212 h 8177"/>
                <a:gd name="connsiteX6" fmla="*/ 2966 w 8194"/>
                <a:gd name="connsiteY6" fmla="*/ 6028 h 8177"/>
                <a:gd name="connsiteX7" fmla="*/ 2150 w 8194"/>
                <a:gd name="connsiteY7" fmla="*/ 2986 h 8177"/>
                <a:gd name="connsiteX8" fmla="*/ 5191 w 8194"/>
                <a:gd name="connsiteY8" fmla="*/ 2170 h 8177"/>
                <a:gd name="connsiteX9" fmla="*/ 6008 w 8194"/>
                <a:gd name="connsiteY9" fmla="*/ 5212 h 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4" h="8177">
                  <a:moveTo>
                    <a:pt x="7639" y="6139"/>
                  </a:moveTo>
                  <a:cubicBezTo>
                    <a:pt x="8789" y="4173"/>
                    <a:pt x="8084" y="1651"/>
                    <a:pt x="6156" y="539"/>
                  </a:cubicBezTo>
                  <a:cubicBezTo>
                    <a:pt x="4190" y="-574"/>
                    <a:pt x="1705" y="94"/>
                    <a:pt x="555" y="2022"/>
                  </a:cubicBezTo>
                  <a:cubicBezTo>
                    <a:pt x="-595" y="3988"/>
                    <a:pt x="110" y="6510"/>
                    <a:pt x="2039" y="7623"/>
                  </a:cubicBezTo>
                  <a:cubicBezTo>
                    <a:pt x="4005" y="8773"/>
                    <a:pt x="6489" y="8068"/>
                    <a:pt x="7639" y="6139"/>
                  </a:cubicBezTo>
                  <a:moveTo>
                    <a:pt x="6008" y="5212"/>
                  </a:moveTo>
                  <a:cubicBezTo>
                    <a:pt x="5377" y="6287"/>
                    <a:pt x="4005" y="6659"/>
                    <a:pt x="2966" y="6028"/>
                  </a:cubicBezTo>
                  <a:cubicBezTo>
                    <a:pt x="1890" y="5397"/>
                    <a:pt x="1519" y="4062"/>
                    <a:pt x="2150" y="2986"/>
                  </a:cubicBezTo>
                  <a:cubicBezTo>
                    <a:pt x="2780" y="1911"/>
                    <a:pt x="4153" y="1540"/>
                    <a:pt x="5191" y="2170"/>
                  </a:cubicBezTo>
                  <a:cubicBezTo>
                    <a:pt x="6267" y="2801"/>
                    <a:pt x="6638" y="4173"/>
                    <a:pt x="6008" y="5212"/>
                  </a:cubicBezTo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E2819AA-A827-9F1D-BF88-A88DBE700DD4}"/>
                </a:ext>
              </a:extLst>
            </p:cNvPr>
            <p:cNvSpPr/>
            <p:nvPr/>
          </p:nvSpPr>
          <p:spPr>
            <a:xfrm>
              <a:off x="6725972" y="6019227"/>
              <a:ext cx="234136" cy="64835"/>
            </a:xfrm>
            <a:custGeom>
              <a:avLst/>
              <a:gdLst>
                <a:gd name="connsiteX0" fmla="*/ 59604 w 59604"/>
                <a:gd name="connsiteY0" fmla="*/ 16505 h 16505"/>
                <a:gd name="connsiteX1" fmla="*/ 52669 w 59604"/>
                <a:gd name="connsiteY1" fmla="*/ 12388 h 16505"/>
                <a:gd name="connsiteX2" fmla="*/ 55673 w 59604"/>
                <a:gd name="connsiteY2" fmla="*/ 1112 h 16505"/>
                <a:gd name="connsiteX3" fmla="*/ 59604 w 59604"/>
                <a:gd name="connsiteY3" fmla="*/ 0 h 16505"/>
                <a:gd name="connsiteX4" fmla="*/ 59604 w 59604"/>
                <a:gd name="connsiteY4" fmla="*/ 0 h 16505"/>
                <a:gd name="connsiteX5" fmla="*/ 0 w 59604"/>
                <a:gd name="connsiteY5" fmla="*/ 0 h 16505"/>
                <a:gd name="connsiteX6" fmla="*/ 0 w 59604"/>
                <a:gd name="connsiteY6" fmla="*/ 16468 h 16505"/>
                <a:gd name="connsiteX7" fmla="*/ 59604 w 59604"/>
                <a:gd name="connsiteY7" fmla="*/ 16468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04" h="16505">
                  <a:moveTo>
                    <a:pt x="59604" y="16505"/>
                  </a:moveTo>
                  <a:cubicBezTo>
                    <a:pt x="56823" y="16431"/>
                    <a:pt x="54152" y="14984"/>
                    <a:pt x="52669" y="12388"/>
                  </a:cubicBezTo>
                  <a:cubicBezTo>
                    <a:pt x="50406" y="8457"/>
                    <a:pt x="51741" y="3412"/>
                    <a:pt x="55673" y="1112"/>
                  </a:cubicBezTo>
                  <a:cubicBezTo>
                    <a:pt x="56896" y="408"/>
                    <a:pt x="58269" y="37"/>
                    <a:pt x="59604" y="0"/>
                  </a:cubicBezTo>
                  <a:lnTo>
                    <a:pt x="59604" y="0"/>
                  </a:lnTo>
                  <a:cubicBezTo>
                    <a:pt x="59604" y="0"/>
                    <a:pt x="0" y="0"/>
                    <a:pt x="0" y="0"/>
                  </a:cubicBezTo>
                  <a:lnTo>
                    <a:pt x="0" y="16468"/>
                  </a:lnTo>
                  <a:lnTo>
                    <a:pt x="59604" y="16468"/>
                  </a:lnTo>
                  <a:close/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6D31845-5CE7-B9B5-EEC5-E0B8A710C585}"/>
              </a:ext>
            </a:extLst>
          </p:cNvPr>
          <p:cNvGrpSpPr/>
          <p:nvPr/>
        </p:nvGrpSpPr>
        <p:grpSpPr>
          <a:xfrm flipH="1">
            <a:off x="4920197" y="4980264"/>
            <a:ext cx="1719432" cy="970669"/>
            <a:chOff x="7814949" y="4177940"/>
            <a:chExt cx="2454116" cy="1385419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98960BB2-335F-CA32-DB10-28C08C2919CA}"/>
                </a:ext>
              </a:extLst>
            </p:cNvPr>
            <p:cNvSpPr/>
            <p:nvPr/>
          </p:nvSpPr>
          <p:spPr>
            <a:xfrm flipH="1">
              <a:off x="8544327" y="4356841"/>
              <a:ext cx="1513314" cy="375436"/>
            </a:xfrm>
            <a:custGeom>
              <a:avLst/>
              <a:gdLst>
                <a:gd name="connsiteX0" fmla="*/ 0 w 203625"/>
                <a:gd name="connsiteY0" fmla="*/ 0 h 50517"/>
                <a:gd name="connsiteX1" fmla="*/ 203626 w 203625"/>
                <a:gd name="connsiteY1" fmla="*/ 0 h 50517"/>
                <a:gd name="connsiteX2" fmla="*/ 203626 w 203625"/>
                <a:gd name="connsiteY2" fmla="*/ 50517 h 50517"/>
                <a:gd name="connsiteX3" fmla="*/ 0 w 203625"/>
                <a:gd name="connsiteY3" fmla="*/ 50517 h 5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625" h="50517">
                  <a:moveTo>
                    <a:pt x="0" y="0"/>
                  </a:moveTo>
                  <a:lnTo>
                    <a:pt x="203626" y="0"/>
                  </a:lnTo>
                  <a:lnTo>
                    <a:pt x="203626" y="50517"/>
                  </a:lnTo>
                  <a:lnTo>
                    <a:pt x="0" y="50517"/>
                  </a:lnTo>
                  <a:close/>
                </a:path>
              </a:pathLst>
            </a:custGeom>
            <a:solidFill>
              <a:srgbClr val="D1D1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3062696-EF5D-1FF7-348A-F1B6640851C2}"/>
                </a:ext>
              </a:extLst>
            </p:cNvPr>
            <p:cNvSpPr/>
            <p:nvPr/>
          </p:nvSpPr>
          <p:spPr>
            <a:xfrm flipH="1">
              <a:off x="8201415" y="4668874"/>
              <a:ext cx="1983298" cy="894485"/>
            </a:xfrm>
            <a:custGeom>
              <a:avLst/>
              <a:gdLst>
                <a:gd name="connsiteX0" fmla="*/ 0 w 266864"/>
                <a:gd name="connsiteY0" fmla="*/ 0 h 120358"/>
                <a:gd name="connsiteX1" fmla="*/ 266865 w 266864"/>
                <a:gd name="connsiteY1" fmla="*/ 0 h 120358"/>
                <a:gd name="connsiteX2" fmla="*/ 266865 w 266864"/>
                <a:gd name="connsiteY2" fmla="*/ 120358 h 120358"/>
                <a:gd name="connsiteX3" fmla="*/ 0 w 266864"/>
                <a:gd name="connsiteY3" fmla="*/ 120358 h 1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64" h="120358">
                  <a:moveTo>
                    <a:pt x="0" y="0"/>
                  </a:moveTo>
                  <a:lnTo>
                    <a:pt x="266865" y="0"/>
                  </a:lnTo>
                  <a:lnTo>
                    <a:pt x="266865" y="120358"/>
                  </a:lnTo>
                  <a:lnTo>
                    <a:pt x="0" y="120358"/>
                  </a:lnTo>
                  <a:close/>
                </a:path>
              </a:pathLst>
            </a:custGeom>
            <a:solidFill>
              <a:srgbClr val="D1D1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D22C6D2-5ADA-0BB8-5344-1CB3C626E5B0}"/>
                </a:ext>
              </a:extLst>
            </p:cNvPr>
            <p:cNvSpPr/>
            <p:nvPr/>
          </p:nvSpPr>
          <p:spPr>
            <a:xfrm flipH="1">
              <a:off x="9244477" y="4668874"/>
              <a:ext cx="1024588" cy="894485"/>
            </a:xfrm>
            <a:custGeom>
              <a:avLst/>
              <a:gdLst>
                <a:gd name="connsiteX0" fmla="*/ 0 w 137864"/>
                <a:gd name="connsiteY0" fmla="*/ 0 h 120358"/>
                <a:gd name="connsiteX1" fmla="*/ 137865 w 137864"/>
                <a:gd name="connsiteY1" fmla="*/ 0 h 120358"/>
                <a:gd name="connsiteX2" fmla="*/ 137865 w 137864"/>
                <a:gd name="connsiteY2" fmla="*/ 120358 h 120358"/>
                <a:gd name="connsiteX3" fmla="*/ 0 w 137864"/>
                <a:gd name="connsiteY3" fmla="*/ 120358 h 1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864" h="120358">
                  <a:moveTo>
                    <a:pt x="0" y="0"/>
                  </a:moveTo>
                  <a:lnTo>
                    <a:pt x="137865" y="0"/>
                  </a:lnTo>
                  <a:lnTo>
                    <a:pt x="137865" y="120358"/>
                  </a:lnTo>
                  <a:lnTo>
                    <a:pt x="0" y="120358"/>
                  </a:lnTo>
                  <a:close/>
                </a:path>
              </a:pathLst>
            </a:custGeom>
            <a:solidFill>
              <a:srgbClr val="E7E7E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2D0752F-EBD4-7E37-254E-5CD4F6ACDC3B}"/>
                </a:ext>
              </a:extLst>
            </p:cNvPr>
            <p:cNvSpPr/>
            <p:nvPr/>
          </p:nvSpPr>
          <p:spPr>
            <a:xfrm flipH="1">
              <a:off x="9117400" y="4477019"/>
              <a:ext cx="100887" cy="191846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D57F093-4E09-48CF-F0B5-E4611892C5EE}"/>
                </a:ext>
              </a:extLst>
            </p:cNvPr>
            <p:cNvSpPr/>
            <p:nvPr/>
          </p:nvSpPr>
          <p:spPr>
            <a:xfrm flipH="1">
              <a:off x="8832648" y="4477019"/>
              <a:ext cx="100887" cy="191846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7ACEC64-984B-0971-47BA-D9D46B77E85E}"/>
                </a:ext>
              </a:extLst>
            </p:cNvPr>
            <p:cNvSpPr/>
            <p:nvPr/>
          </p:nvSpPr>
          <p:spPr>
            <a:xfrm flipH="1">
              <a:off x="9296301" y="4527186"/>
              <a:ext cx="920391" cy="144438"/>
            </a:xfrm>
            <a:custGeom>
              <a:avLst/>
              <a:gdLst>
                <a:gd name="connsiteX0" fmla="*/ 123808 w 123844"/>
                <a:gd name="connsiteY0" fmla="*/ 19435 h 19435"/>
                <a:gd name="connsiteX1" fmla="*/ 0 w 123844"/>
                <a:gd name="connsiteY1" fmla="*/ 19435 h 19435"/>
                <a:gd name="connsiteX2" fmla="*/ 0 w 123844"/>
                <a:gd name="connsiteY2" fmla="*/ 5044 h 19435"/>
                <a:gd name="connsiteX3" fmla="*/ 5044 w 123844"/>
                <a:gd name="connsiteY3" fmla="*/ 0 h 19435"/>
                <a:gd name="connsiteX4" fmla="*/ 118800 w 123844"/>
                <a:gd name="connsiteY4" fmla="*/ 0 h 19435"/>
                <a:gd name="connsiteX5" fmla="*/ 123845 w 123844"/>
                <a:gd name="connsiteY5" fmla="*/ 5044 h 19435"/>
                <a:gd name="connsiteX6" fmla="*/ 123845 w 123844"/>
                <a:gd name="connsiteY6" fmla="*/ 19435 h 1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844" h="19435">
                  <a:moveTo>
                    <a:pt x="123808" y="19435"/>
                  </a:moveTo>
                  <a:lnTo>
                    <a:pt x="0" y="19435"/>
                  </a:lnTo>
                  <a:lnTo>
                    <a:pt x="0" y="5044"/>
                  </a:lnTo>
                  <a:cubicBezTo>
                    <a:pt x="0" y="2263"/>
                    <a:pt x="2263" y="0"/>
                    <a:pt x="5044" y="0"/>
                  </a:cubicBezTo>
                  <a:lnTo>
                    <a:pt x="118800" y="0"/>
                  </a:lnTo>
                  <a:cubicBezTo>
                    <a:pt x="121582" y="0"/>
                    <a:pt x="123845" y="2263"/>
                    <a:pt x="123845" y="5044"/>
                  </a:cubicBezTo>
                  <a:lnTo>
                    <a:pt x="123845" y="1943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97046448-6A21-B2E6-E785-B7769183C5F5}"/>
                </a:ext>
              </a:extLst>
            </p:cNvPr>
            <p:cNvSpPr/>
            <p:nvPr/>
          </p:nvSpPr>
          <p:spPr>
            <a:xfrm flipH="1">
              <a:off x="9387260" y="5075458"/>
              <a:ext cx="632065" cy="191296"/>
            </a:xfrm>
            <a:custGeom>
              <a:avLst/>
              <a:gdLst>
                <a:gd name="connsiteX0" fmla="*/ 0 w 85048"/>
                <a:gd name="connsiteY0" fmla="*/ 0 h 25740"/>
                <a:gd name="connsiteX1" fmla="*/ 85048 w 85048"/>
                <a:gd name="connsiteY1" fmla="*/ 0 h 25740"/>
                <a:gd name="connsiteX2" fmla="*/ 85048 w 85048"/>
                <a:gd name="connsiteY2" fmla="*/ 25741 h 25740"/>
                <a:gd name="connsiteX3" fmla="*/ 0 w 85048"/>
                <a:gd name="connsiteY3" fmla="*/ 25741 h 2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048" h="25740">
                  <a:moveTo>
                    <a:pt x="0" y="0"/>
                  </a:moveTo>
                  <a:lnTo>
                    <a:pt x="85048" y="0"/>
                  </a:lnTo>
                  <a:lnTo>
                    <a:pt x="85048" y="25741"/>
                  </a:lnTo>
                  <a:lnTo>
                    <a:pt x="0" y="25741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8694818-5147-CF9A-A62F-A0A16E6A38DF}"/>
                </a:ext>
              </a:extLst>
            </p:cNvPr>
            <p:cNvSpPr/>
            <p:nvPr/>
          </p:nvSpPr>
          <p:spPr>
            <a:xfrm flipH="1">
              <a:off x="8485566" y="4177940"/>
              <a:ext cx="1630009" cy="206182"/>
            </a:xfrm>
            <a:custGeom>
              <a:avLst/>
              <a:gdLst>
                <a:gd name="connsiteX0" fmla="*/ 178707 w 219327"/>
                <a:gd name="connsiteY0" fmla="*/ 0 h 27743"/>
                <a:gd name="connsiteX1" fmla="*/ 40546 w 219327"/>
                <a:gd name="connsiteY1" fmla="*/ 0 h 27743"/>
                <a:gd name="connsiteX2" fmla="*/ 33313 w 219327"/>
                <a:gd name="connsiteY2" fmla="*/ 2040 h 27743"/>
                <a:gd name="connsiteX3" fmla="*/ 1675 w 219327"/>
                <a:gd name="connsiteY3" fmla="*/ 21253 h 27743"/>
                <a:gd name="connsiteX4" fmla="*/ 3493 w 219327"/>
                <a:gd name="connsiteY4" fmla="*/ 27743 h 27743"/>
                <a:gd name="connsiteX5" fmla="*/ 215835 w 219327"/>
                <a:gd name="connsiteY5" fmla="*/ 27743 h 27743"/>
                <a:gd name="connsiteX6" fmla="*/ 217652 w 219327"/>
                <a:gd name="connsiteY6" fmla="*/ 21253 h 27743"/>
                <a:gd name="connsiteX7" fmla="*/ 186014 w 219327"/>
                <a:gd name="connsiteY7" fmla="*/ 2040 h 27743"/>
                <a:gd name="connsiteX8" fmla="*/ 178782 w 219327"/>
                <a:gd name="connsiteY8" fmla="*/ 0 h 27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327" h="27743">
                  <a:moveTo>
                    <a:pt x="178707" y="0"/>
                  </a:moveTo>
                  <a:lnTo>
                    <a:pt x="40546" y="0"/>
                  </a:lnTo>
                  <a:cubicBezTo>
                    <a:pt x="37987" y="0"/>
                    <a:pt x="35502" y="705"/>
                    <a:pt x="33313" y="2040"/>
                  </a:cubicBezTo>
                  <a:lnTo>
                    <a:pt x="1675" y="21253"/>
                  </a:lnTo>
                  <a:cubicBezTo>
                    <a:pt x="-1329" y="23070"/>
                    <a:pt x="-31" y="27743"/>
                    <a:pt x="3493" y="27743"/>
                  </a:cubicBezTo>
                  <a:lnTo>
                    <a:pt x="215835" y="27743"/>
                  </a:lnTo>
                  <a:cubicBezTo>
                    <a:pt x="219358" y="27743"/>
                    <a:pt x="220657" y="23107"/>
                    <a:pt x="217652" y="21253"/>
                  </a:cubicBezTo>
                  <a:lnTo>
                    <a:pt x="186014" y="2040"/>
                  </a:lnTo>
                  <a:cubicBezTo>
                    <a:pt x="183826" y="705"/>
                    <a:pt x="181341" y="0"/>
                    <a:pt x="178782" y="0"/>
                  </a:cubicBezTo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CC88F7DF-38F4-A298-CA7D-3CE18895E3C5}"/>
                </a:ext>
              </a:extLst>
            </p:cNvPr>
            <p:cNvSpPr/>
            <p:nvPr/>
          </p:nvSpPr>
          <p:spPr>
            <a:xfrm flipH="1">
              <a:off x="8895223" y="5102472"/>
              <a:ext cx="100887" cy="191846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F8F50DA-FD02-6B2D-9D32-D41F38D0D2E0}"/>
                </a:ext>
              </a:extLst>
            </p:cNvPr>
            <p:cNvSpPr/>
            <p:nvPr/>
          </p:nvSpPr>
          <p:spPr>
            <a:xfrm flipH="1">
              <a:off x="8895223" y="5102472"/>
              <a:ext cx="100887" cy="46583"/>
            </a:xfrm>
            <a:custGeom>
              <a:avLst/>
              <a:gdLst>
                <a:gd name="connsiteX0" fmla="*/ 0 w 13575"/>
                <a:gd name="connsiteY0" fmla="*/ 0 h 6268"/>
                <a:gd name="connsiteX1" fmla="*/ 13575 w 13575"/>
                <a:gd name="connsiteY1" fmla="*/ 0 h 6268"/>
                <a:gd name="connsiteX2" fmla="*/ 13575 w 13575"/>
                <a:gd name="connsiteY2" fmla="*/ 6268 h 6268"/>
                <a:gd name="connsiteX3" fmla="*/ 0 w 13575"/>
                <a:gd name="connsiteY3" fmla="*/ 6268 h 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268">
                  <a:moveTo>
                    <a:pt x="0" y="0"/>
                  </a:moveTo>
                  <a:lnTo>
                    <a:pt x="13575" y="0"/>
                  </a:lnTo>
                  <a:lnTo>
                    <a:pt x="13575" y="6268"/>
                  </a:lnTo>
                  <a:lnTo>
                    <a:pt x="0" y="6268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FD12B8B-6326-1952-C429-58978339035A}"/>
                </a:ext>
              </a:extLst>
            </p:cNvPr>
            <p:cNvSpPr/>
            <p:nvPr/>
          </p:nvSpPr>
          <p:spPr>
            <a:xfrm flipH="1">
              <a:off x="8091156" y="5253249"/>
              <a:ext cx="595954" cy="310102"/>
            </a:xfrm>
            <a:custGeom>
              <a:avLst/>
              <a:gdLst>
                <a:gd name="connsiteX0" fmla="*/ 0 w 80189"/>
                <a:gd name="connsiteY0" fmla="*/ 0 h 41726"/>
                <a:gd name="connsiteX1" fmla="*/ 80189 w 80189"/>
                <a:gd name="connsiteY1" fmla="*/ 0 h 41726"/>
                <a:gd name="connsiteX2" fmla="*/ 80189 w 80189"/>
                <a:gd name="connsiteY2" fmla="*/ 41727 h 41726"/>
                <a:gd name="connsiteX3" fmla="*/ 0 w 80189"/>
                <a:gd name="connsiteY3" fmla="*/ 41727 h 4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189" h="41726">
                  <a:moveTo>
                    <a:pt x="0" y="0"/>
                  </a:moveTo>
                  <a:lnTo>
                    <a:pt x="80189" y="0"/>
                  </a:lnTo>
                  <a:lnTo>
                    <a:pt x="80189" y="41727"/>
                  </a:lnTo>
                  <a:lnTo>
                    <a:pt x="0" y="41727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EA14906-43C0-CC95-2403-746AEDBE9775}"/>
                </a:ext>
              </a:extLst>
            </p:cNvPr>
            <p:cNvSpPr/>
            <p:nvPr/>
          </p:nvSpPr>
          <p:spPr>
            <a:xfrm flipH="1">
              <a:off x="9117400" y="4477019"/>
              <a:ext cx="100887" cy="46583"/>
            </a:xfrm>
            <a:custGeom>
              <a:avLst/>
              <a:gdLst>
                <a:gd name="connsiteX0" fmla="*/ 0 w 13575"/>
                <a:gd name="connsiteY0" fmla="*/ 0 h 6268"/>
                <a:gd name="connsiteX1" fmla="*/ 13575 w 13575"/>
                <a:gd name="connsiteY1" fmla="*/ 0 h 6268"/>
                <a:gd name="connsiteX2" fmla="*/ 13575 w 13575"/>
                <a:gd name="connsiteY2" fmla="*/ 6268 h 6268"/>
                <a:gd name="connsiteX3" fmla="*/ 0 w 13575"/>
                <a:gd name="connsiteY3" fmla="*/ 6268 h 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268">
                  <a:moveTo>
                    <a:pt x="0" y="0"/>
                  </a:moveTo>
                  <a:lnTo>
                    <a:pt x="13575" y="0"/>
                  </a:lnTo>
                  <a:lnTo>
                    <a:pt x="13575" y="6268"/>
                  </a:lnTo>
                  <a:lnTo>
                    <a:pt x="0" y="6268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AE776A-6841-134E-44A1-07C76DE50C58}"/>
                </a:ext>
              </a:extLst>
            </p:cNvPr>
            <p:cNvSpPr/>
            <p:nvPr/>
          </p:nvSpPr>
          <p:spPr>
            <a:xfrm flipH="1">
              <a:off x="8832648" y="4477019"/>
              <a:ext cx="100887" cy="46583"/>
            </a:xfrm>
            <a:custGeom>
              <a:avLst/>
              <a:gdLst>
                <a:gd name="connsiteX0" fmla="*/ 0 w 13575"/>
                <a:gd name="connsiteY0" fmla="*/ 0 h 6268"/>
                <a:gd name="connsiteX1" fmla="*/ 13575 w 13575"/>
                <a:gd name="connsiteY1" fmla="*/ 0 h 6268"/>
                <a:gd name="connsiteX2" fmla="*/ 13575 w 13575"/>
                <a:gd name="connsiteY2" fmla="*/ 6268 h 6268"/>
                <a:gd name="connsiteX3" fmla="*/ 0 w 13575"/>
                <a:gd name="connsiteY3" fmla="*/ 6268 h 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268">
                  <a:moveTo>
                    <a:pt x="0" y="0"/>
                  </a:moveTo>
                  <a:lnTo>
                    <a:pt x="13575" y="0"/>
                  </a:lnTo>
                  <a:lnTo>
                    <a:pt x="13575" y="6268"/>
                  </a:lnTo>
                  <a:lnTo>
                    <a:pt x="0" y="6268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5BC859DF-71B2-301E-E7CE-42E1588D3D4A}"/>
                </a:ext>
              </a:extLst>
            </p:cNvPr>
            <p:cNvSpPr/>
            <p:nvPr/>
          </p:nvSpPr>
          <p:spPr>
            <a:xfrm flipH="1">
              <a:off x="9387260" y="5075458"/>
              <a:ext cx="632065" cy="46032"/>
            </a:xfrm>
            <a:custGeom>
              <a:avLst/>
              <a:gdLst>
                <a:gd name="connsiteX0" fmla="*/ 0 w 85048"/>
                <a:gd name="connsiteY0" fmla="*/ 0 h 6194"/>
                <a:gd name="connsiteX1" fmla="*/ 85048 w 85048"/>
                <a:gd name="connsiteY1" fmla="*/ 0 h 6194"/>
                <a:gd name="connsiteX2" fmla="*/ 85048 w 85048"/>
                <a:gd name="connsiteY2" fmla="*/ 6194 h 6194"/>
                <a:gd name="connsiteX3" fmla="*/ 0 w 85048"/>
                <a:gd name="connsiteY3" fmla="*/ 6194 h 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048" h="6194">
                  <a:moveTo>
                    <a:pt x="0" y="0"/>
                  </a:moveTo>
                  <a:lnTo>
                    <a:pt x="85048" y="0"/>
                  </a:lnTo>
                  <a:lnTo>
                    <a:pt x="85048" y="6194"/>
                  </a:lnTo>
                  <a:lnTo>
                    <a:pt x="0" y="6194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55BEC2B5-8703-C806-E0F8-32EB7D894964}"/>
                </a:ext>
              </a:extLst>
            </p:cNvPr>
            <p:cNvSpPr/>
            <p:nvPr/>
          </p:nvSpPr>
          <p:spPr>
            <a:xfrm flipH="1">
              <a:off x="7814959" y="5102472"/>
              <a:ext cx="871876" cy="174761"/>
            </a:xfrm>
            <a:custGeom>
              <a:avLst/>
              <a:gdLst>
                <a:gd name="connsiteX0" fmla="*/ 117317 w 117316"/>
                <a:gd name="connsiteY0" fmla="*/ 0 h 23515"/>
                <a:gd name="connsiteX1" fmla="*/ 0 w 117316"/>
                <a:gd name="connsiteY1" fmla="*/ 0 h 23515"/>
                <a:gd name="connsiteX2" fmla="*/ 0 w 117316"/>
                <a:gd name="connsiteY2" fmla="*/ 23515 h 23515"/>
                <a:gd name="connsiteX3" fmla="*/ 14651 w 117316"/>
                <a:gd name="connsiteY3" fmla="*/ 19213 h 23515"/>
                <a:gd name="connsiteX4" fmla="*/ 29301 w 117316"/>
                <a:gd name="connsiteY4" fmla="*/ 23515 h 23515"/>
                <a:gd name="connsiteX5" fmla="*/ 43952 w 117316"/>
                <a:gd name="connsiteY5" fmla="*/ 19213 h 23515"/>
                <a:gd name="connsiteX6" fmla="*/ 58603 w 117316"/>
                <a:gd name="connsiteY6" fmla="*/ 23515 h 23515"/>
                <a:gd name="connsiteX7" fmla="*/ 73253 w 117316"/>
                <a:gd name="connsiteY7" fmla="*/ 19213 h 23515"/>
                <a:gd name="connsiteX8" fmla="*/ 87941 w 117316"/>
                <a:gd name="connsiteY8" fmla="*/ 23515 h 23515"/>
                <a:gd name="connsiteX9" fmla="*/ 102629 w 117316"/>
                <a:gd name="connsiteY9" fmla="*/ 19213 h 23515"/>
                <a:gd name="connsiteX10" fmla="*/ 117317 w 117316"/>
                <a:gd name="connsiteY10" fmla="*/ 23515 h 23515"/>
                <a:gd name="connsiteX11" fmla="*/ 117317 w 117316"/>
                <a:gd name="connsiteY11" fmla="*/ 0 h 23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316" h="23515">
                  <a:moveTo>
                    <a:pt x="117317" y="0"/>
                  </a:moveTo>
                  <a:lnTo>
                    <a:pt x="0" y="0"/>
                  </a:lnTo>
                  <a:lnTo>
                    <a:pt x="0" y="23515"/>
                  </a:lnTo>
                  <a:cubicBezTo>
                    <a:pt x="7344" y="23515"/>
                    <a:pt x="7344" y="19213"/>
                    <a:pt x="14651" y="19213"/>
                  </a:cubicBezTo>
                  <a:cubicBezTo>
                    <a:pt x="21958" y="19213"/>
                    <a:pt x="21995" y="23515"/>
                    <a:pt x="29301" y="23515"/>
                  </a:cubicBezTo>
                  <a:cubicBezTo>
                    <a:pt x="36608" y="23515"/>
                    <a:pt x="36645" y="19213"/>
                    <a:pt x="43952" y="19213"/>
                  </a:cubicBezTo>
                  <a:cubicBezTo>
                    <a:pt x="51259" y="19213"/>
                    <a:pt x="51296" y="23515"/>
                    <a:pt x="58603" y="23515"/>
                  </a:cubicBezTo>
                  <a:cubicBezTo>
                    <a:pt x="65910" y="23515"/>
                    <a:pt x="65947" y="19213"/>
                    <a:pt x="73253" y="19213"/>
                  </a:cubicBezTo>
                  <a:cubicBezTo>
                    <a:pt x="80560" y="19213"/>
                    <a:pt x="80597" y="23515"/>
                    <a:pt x="87941" y="23515"/>
                  </a:cubicBezTo>
                  <a:cubicBezTo>
                    <a:pt x="95285" y="23515"/>
                    <a:pt x="95285" y="19213"/>
                    <a:pt x="102629" y="19213"/>
                  </a:cubicBezTo>
                  <a:cubicBezTo>
                    <a:pt x="109973" y="19213"/>
                    <a:pt x="109973" y="23515"/>
                    <a:pt x="117317" y="23515"/>
                  </a:cubicBezTo>
                  <a:lnTo>
                    <a:pt x="117317" y="0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8F180A35-0A2B-924D-9D80-6B1B25EA41D6}"/>
                </a:ext>
              </a:extLst>
            </p:cNvPr>
            <p:cNvSpPr/>
            <p:nvPr/>
          </p:nvSpPr>
          <p:spPr>
            <a:xfrm flipH="1">
              <a:off x="7814949" y="4954167"/>
              <a:ext cx="872152" cy="148295"/>
            </a:xfrm>
            <a:custGeom>
              <a:avLst/>
              <a:gdLst>
                <a:gd name="connsiteX0" fmla="*/ 117354 w 117353"/>
                <a:gd name="connsiteY0" fmla="*/ 19955 h 19954"/>
                <a:gd name="connsiteX1" fmla="*/ 0 w 117353"/>
                <a:gd name="connsiteY1" fmla="*/ 19955 h 19954"/>
                <a:gd name="connsiteX2" fmla="*/ 0 w 117353"/>
                <a:gd name="connsiteY2" fmla="*/ 0 h 19954"/>
                <a:gd name="connsiteX3" fmla="*/ 65316 w 117353"/>
                <a:gd name="connsiteY3" fmla="*/ 0 h 19954"/>
                <a:gd name="connsiteX4" fmla="*/ 117354 w 117353"/>
                <a:gd name="connsiteY4" fmla="*/ 19955 h 1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353" h="19954">
                  <a:moveTo>
                    <a:pt x="117354" y="19955"/>
                  </a:moveTo>
                  <a:lnTo>
                    <a:pt x="0" y="19955"/>
                  </a:lnTo>
                  <a:lnTo>
                    <a:pt x="0" y="0"/>
                  </a:lnTo>
                  <a:lnTo>
                    <a:pt x="65316" y="0"/>
                  </a:lnTo>
                  <a:lnTo>
                    <a:pt x="117354" y="19955"/>
                  </a:lnTo>
                  <a:close/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A01B8076-3B3F-47E6-70E3-530D63D2FF60}"/>
              </a:ext>
            </a:extLst>
          </p:cNvPr>
          <p:cNvSpPr/>
          <p:nvPr/>
        </p:nvSpPr>
        <p:spPr>
          <a:xfrm>
            <a:off x="4954055" y="6334905"/>
            <a:ext cx="724588" cy="212328"/>
          </a:xfrm>
          <a:custGeom>
            <a:avLst/>
            <a:gdLst>
              <a:gd name="connsiteX0" fmla="*/ 0 w 1034192"/>
              <a:gd name="connsiteY0" fmla="*/ 0 h 303052"/>
              <a:gd name="connsiteX1" fmla="*/ 126174 w 1034192"/>
              <a:gd name="connsiteY1" fmla="*/ 0 h 303052"/>
              <a:gd name="connsiteX2" fmla="*/ 126174 w 1034192"/>
              <a:gd name="connsiteY2" fmla="*/ 148030 h 303052"/>
              <a:gd name="connsiteX3" fmla="*/ 154877 w 1034192"/>
              <a:gd name="connsiteY3" fmla="*/ 176733 h 303052"/>
              <a:gd name="connsiteX4" fmla="*/ 666460 w 1034192"/>
              <a:gd name="connsiteY4" fmla="*/ 176733 h 303052"/>
              <a:gd name="connsiteX5" fmla="*/ 1034192 w 1034192"/>
              <a:gd name="connsiteY5" fmla="*/ 176733 h 303052"/>
              <a:gd name="connsiteX6" fmla="*/ 1034192 w 1034192"/>
              <a:gd name="connsiteY6" fmla="*/ 303052 h 303052"/>
              <a:gd name="connsiteX7" fmla="*/ 155022 w 1034192"/>
              <a:gd name="connsiteY7" fmla="*/ 303052 h 303052"/>
              <a:gd name="connsiteX8" fmla="*/ 0 w 1034192"/>
              <a:gd name="connsiteY8" fmla="*/ 148030 h 303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4192" h="303052">
                <a:moveTo>
                  <a:pt x="0" y="0"/>
                </a:moveTo>
                <a:lnTo>
                  <a:pt x="126174" y="0"/>
                </a:lnTo>
                <a:lnTo>
                  <a:pt x="126174" y="148030"/>
                </a:lnTo>
                <a:cubicBezTo>
                  <a:pt x="126174" y="163763"/>
                  <a:pt x="138995" y="176733"/>
                  <a:pt x="154877" y="176733"/>
                </a:cubicBezTo>
                <a:cubicBezTo>
                  <a:pt x="154877" y="176733"/>
                  <a:pt x="359510" y="176733"/>
                  <a:pt x="666460" y="176733"/>
                </a:cubicBezTo>
                <a:lnTo>
                  <a:pt x="1034192" y="176733"/>
                </a:lnTo>
                <a:lnTo>
                  <a:pt x="1034192" y="303052"/>
                </a:lnTo>
                <a:lnTo>
                  <a:pt x="155022" y="303052"/>
                </a:lnTo>
                <a:cubicBezTo>
                  <a:pt x="69498" y="303052"/>
                  <a:pt x="0" y="233409"/>
                  <a:pt x="0" y="148030"/>
                </a:cubicBezTo>
                <a:close/>
              </a:path>
            </a:pathLst>
          </a:custGeom>
          <a:solidFill>
            <a:srgbClr val="424242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77" name="Freihandform: Form 176">
            <a:extLst>
              <a:ext uri="{FF2B5EF4-FFF2-40B4-BE49-F238E27FC236}">
                <a16:creationId xmlns:a16="http://schemas.microsoft.com/office/drawing/2014/main" id="{CBF4BB84-AE27-B9E8-BF57-DF05BF25914E}"/>
              </a:ext>
            </a:extLst>
          </p:cNvPr>
          <p:cNvSpPr/>
          <p:nvPr/>
        </p:nvSpPr>
        <p:spPr>
          <a:xfrm>
            <a:off x="4979165" y="6335008"/>
            <a:ext cx="699477" cy="186810"/>
          </a:xfrm>
          <a:custGeom>
            <a:avLst/>
            <a:gdLst>
              <a:gd name="connsiteX0" fmla="*/ 0 w 998352"/>
              <a:gd name="connsiteY0" fmla="*/ 0 h 266630"/>
              <a:gd name="connsiteX1" fmla="*/ 54056 w 998352"/>
              <a:gd name="connsiteY1" fmla="*/ 0 h 266630"/>
              <a:gd name="connsiteX2" fmla="*/ 54056 w 998352"/>
              <a:gd name="connsiteY2" fmla="*/ 147739 h 266630"/>
              <a:gd name="connsiteX3" fmla="*/ 118891 w 998352"/>
              <a:gd name="connsiteY3" fmla="*/ 212574 h 266630"/>
              <a:gd name="connsiteX4" fmla="*/ 630474 w 998352"/>
              <a:gd name="connsiteY4" fmla="*/ 212574 h 266630"/>
              <a:gd name="connsiteX5" fmla="*/ 998352 w 998352"/>
              <a:gd name="connsiteY5" fmla="*/ 212574 h 266630"/>
              <a:gd name="connsiteX6" fmla="*/ 998352 w 998352"/>
              <a:gd name="connsiteY6" fmla="*/ 266630 h 266630"/>
              <a:gd name="connsiteX7" fmla="*/ 118891 w 998352"/>
              <a:gd name="connsiteY7" fmla="*/ 266630 h 266630"/>
              <a:gd name="connsiteX8" fmla="*/ 0 w 998352"/>
              <a:gd name="connsiteY8" fmla="*/ 147739 h 266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8352" h="266630">
                <a:moveTo>
                  <a:pt x="0" y="0"/>
                </a:moveTo>
                <a:lnTo>
                  <a:pt x="54056" y="0"/>
                </a:lnTo>
                <a:lnTo>
                  <a:pt x="54056" y="147739"/>
                </a:lnTo>
                <a:cubicBezTo>
                  <a:pt x="54056" y="183580"/>
                  <a:pt x="83195" y="212574"/>
                  <a:pt x="118891" y="212574"/>
                </a:cubicBezTo>
                <a:cubicBezTo>
                  <a:pt x="118891" y="212574"/>
                  <a:pt x="323524" y="212574"/>
                  <a:pt x="630474" y="212574"/>
                </a:cubicBezTo>
                <a:lnTo>
                  <a:pt x="998352" y="212574"/>
                </a:lnTo>
                <a:lnTo>
                  <a:pt x="998352" y="266630"/>
                </a:lnTo>
                <a:lnTo>
                  <a:pt x="118891" y="266630"/>
                </a:lnTo>
                <a:cubicBezTo>
                  <a:pt x="53325" y="266630"/>
                  <a:pt x="0" y="213301"/>
                  <a:pt x="0" y="147739"/>
                </a:cubicBezTo>
                <a:close/>
              </a:path>
            </a:pathLst>
          </a:custGeom>
          <a:solidFill>
            <a:srgbClr val="FC6538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EB12F501-CEC9-F129-3E1F-951887FE8136}"/>
              </a:ext>
            </a:extLst>
          </p:cNvPr>
          <p:cNvGrpSpPr/>
          <p:nvPr/>
        </p:nvGrpSpPr>
        <p:grpSpPr>
          <a:xfrm flipH="1">
            <a:off x="7427715" y="6334905"/>
            <a:ext cx="2132571" cy="212328"/>
            <a:chOff x="3052219" y="6096000"/>
            <a:chExt cx="3043781" cy="303052"/>
          </a:xfrm>
        </p:grpSpPr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E8F2F386-988C-1B73-A3C3-DB8406BA3AE8}"/>
                </a:ext>
              </a:extLst>
            </p:cNvPr>
            <p:cNvSpPr/>
            <p:nvPr/>
          </p:nvSpPr>
          <p:spPr>
            <a:xfrm flipH="1">
              <a:off x="3052219" y="6096000"/>
              <a:ext cx="3043781" cy="303052"/>
            </a:xfrm>
            <a:custGeom>
              <a:avLst/>
              <a:gdLst>
                <a:gd name="connsiteX0" fmla="*/ 2258468 w 3043781"/>
                <a:gd name="connsiteY0" fmla="*/ 0 h 303052"/>
                <a:gd name="connsiteX1" fmla="*/ 2385078 w 3043781"/>
                <a:gd name="connsiteY1" fmla="*/ 0 h 303052"/>
                <a:gd name="connsiteX2" fmla="*/ 2385078 w 3043781"/>
                <a:gd name="connsiteY2" fmla="*/ 148030 h 303052"/>
                <a:gd name="connsiteX3" fmla="*/ 2413781 w 3043781"/>
                <a:gd name="connsiteY3" fmla="*/ 176733 h 303052"/>
                <a:gd name="connsiteX4" fmla="*/ 3043490 w 3043781"/>
                <a:gd name="connsiteY4" fmla="*/ 176733 h 303052"/>
                <a:gd name="connsiteX5" fmla="*/ 3043490 w 3043781"/>
                <a:gd name="connsiteY5" fmla="*/ 302907 h 303052"/>
                <a:gd name="connsiteX6" fmla="*/ 3043781 w 3043781"/>
                <a:gd name="connsiteY6" fmla="*/ 303052 h 303052"/>
                <a:gd name="connsiteX7" fmla="*/ 2414076 w 3043781"/>
                <a:gd name="connsiteY7" fmla="*/ 303052 h 303052"/>
                <a:gd name="connsiteX8" fmla="*/ 2321991 w 3043781"/>
                <a:gd name="connsiteY8" fmla="*/ 272456 h 303052"/>
                <a:gd name="connsiteX9" fmla="*/ 2229910 w 3043781"/>
                <a:gd name="connsiteY9" fmla="*/ 303052 h 303052"/>
                <a:gd name="connsiteX10" fmla="*/ 1645662 w 3043781"/>
                <a:gd name="connsiteY10" fmla="*/ 303052 h 303052"/>
                <a:gd name="connsiteX11" fmla="*/ 0 w 3043781"/>
                <a:gd name="connsiteY11" fmla="*/ 303052 h 303052"/>
                <a:gd name="connsiteX12" fmla="*/ 0 w 3043781"/>
                <a:gd name="connsiteY12" fmla="*/ 176733 h 303052"/>
                <a:gd name="connsiteX13" fmla="*/ 564250 w 3043781"/>
                <a:gd name="connsiteY13" fmla="*/ 176733 h 303052"/>
                <a:gd name="connsiteX14" fmla="*/ 1600205 w 3043781"/>
                <a:gd name="connsiteY14" fmla="*/ 176733 h 303052"/>
                <a:gd name="connsiteX15" fmla="*/ 2229764 w 3043781"/>
                <a:gd name="connsiteY15" fmla="*/ 176733 h 303052"/>
                <a:gd name="connsiteX16" fmla="*/ 2258468 w 3043781"/>
                <a:gd name="connsiteY16" fmla="*/ 148030 h 3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43781" h="303052">
                  <a:moveTo>
                    <a:pt x="2258468" y="0"/>
                  </a:moveTo>
                  <a:lnTo>
                    <a:pt x="2385078" y="0"/>
                  </a:lnTo>
                  <a:lnTo>
                    <a:pt x="2385078" y="148030"/>
                  </a:lnTo>
                  <a:cubicBezTo>
                    <a:pt x="2385078" y="163912"/>
                    <a:pt x="2397899" y="176733"/>
                    <a:pt x="2413781" y="176733"/>
                  </a:cubicBezTo>
                  <a:lnTo>
                    <a:pt x="3043490" y="176733"/>
                  </a:lnTo>
                  <a:lnTo>
                    <a:pt x="3043490" y="302907"/>
                  </a:lnTo>
                  <a:lnTo>
                    <a:pt x="3043781" y="303052"/>
                  </a:lnTo>
                  <a:lnTo>
                    <a:pt x="2414076" y="303052"/>
                  </a:lnTo>
                  <a:cubicBezTo>
                    <a:pt x="2379542" y="303052"/>
                    <a:pt x="2347779" y="291543"/>
                    <a:pt x="2321991" y="272456"/>
                  </a:cubicBezTo>
                  <a:cubicBezTo>
                    <a:pt x="2296202" y="291543"/>
                    <a:pt x="2264443" y="303052"/>
                    <a:pt x="2229910" y="303052"/>
                  </a:cubicBezTo>
                  <a:cubicBezTo>
                    <a:pt x="2229910" y="303052"/>
                    <a:pt x="1645662" y="303052"/>
                    <a:pt x="1645662" y="303052"/>
                  </a:cubicBezTo>
                  <a:lnTo>
                    <a:pt x="0" y="303052"/>
                  </a:lnTo>
                  <a:lnTo>
                    <a:pt x="0" y="176733"/>
                  </a:lnTo>
                  <a:lnTo>
                    <a:pt x="564250" y="176733"/>
                  </a:lnTo>
                  <a:cubicBezTo>
                    <a:pt x="1139781" y="176733"/>
                    <a:pt x="1600205" y="176733"/>
                    <a:pt x="1600205" y="176733"/>
                  </a:cubicBezTo>
                  <a:lnTo>
                    <a:pt x="2229764" y="176733"/>
                  </a:lnTo>
                  <a:cubicBezTo>
                    <a:pt x="2245501" y="176733"/>
                    <a:pt x="2258468" y="163912"/>
                    <a:pt x="2258468" y="148030"/>
                  </a:cubicBez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38993352-BB1C-2D44-ADDE-B1A536B1C304}"/>
                </a:ext>
              </a:extLst>
            </p:cNvPr>
            <p:cNvSpPr/>
            <p:nvPr/>
          </p:nvSpPr>
          <p:spPr>
            <a:xfrm flipH="1">
              <a:off x="3052219" y="6096000"/>
              <a:ext cx="3043486" cy="266776"/>
            </a:xfrm>
            <a:custGeom>
              <a:avLst/>
              <a:gdLst>
                <a:gd name="connsiteX0" fmla="*/ 2294454 w 3043486"/>
                <a:gd name="connsiteY0" fmla="*/ 0 h 266776"/>
                <a:gd name="connsiteX1" fmla="*/ 2348946 w 3043486"/>
                <a:gd name="connsiteY1" fmla="*/ 0 h 266776"/>
                <a:gd name="connsiteX2" fmla="*/ 2348946 w 3043486"/>
                <a:gd name="connsiteY2" fmla="*/ 147885 h 266776"/>
                <a:gd name="connsiteX3" fmla="*/ 2413780 w 3043486"/>
                <a:gd name="connsiteY3" fmla="*/ 212720 h 266776"/>
                <a:gd name="connsiteX4" fmla="*/ 3043486 w 3043486"/>
                <a:gd name="connsiteY4" fmla="*/ 212720 h 266776"/>
                <a:gd name="connsiteX5" fmla="*/ 3043486 w 3043486"/>
                <a:gd name="connsiteY5" fmla="*/ 266776 h 266776"/>
                <a:gd name="connsiteX6" fmla="*/ 2413780 w 3043486"/>
                <a:gd name="connsiteY6" fmla="*/ 266776 h 266776"/>
                <a:gd name="connsiteX7" fmla="*/ 2321700 w 3043486"/>
                <a:gd name="connsiteY7" fmla="*/ 222191 h 266776"/>
                <a:gd name="connsiteX8" fmla="*/ 2229619 w 3043486"/>
                <a:gd name="connsiteY8" fmla="*/ 266776 h 266776"/>
                <a:gd name="connsiteX9" fmla="*/ 1645370 w 3043486"/>
                <a:gd name="connsiteY9" fmla="*/ 266776 h 266776"/>
                <a:gd name="connsiteX10" fmla="*/ 0 w 3043486"/>
                <a:gd name="connsiteY10" fmla="*/ 266776 h 266776"/>
                <a:gd name="connsiteX11" fmla="*/ 0 w 3043486"/>
                <a:gd name="connsiteY11" fmla="*/ 212720 h 266776"/>
                <a:gd name="connsiteX12" fmla="*/ 564104 w 3043486"/>
                <a:gd name="connsiteY12" fmla="*/ 212720 h 266776"/>
                <a:gd name="connsiteX13" fmla="*/ 1600059 w 3043486"/>
                <a:gd name="connsiteY13" fmla="*/ 212720 h 266776"/>
                <a:gd name="connsiteX14" fmla="*/ 2229619 w 3043486"/>
                <a:gd name="connsiteY14" fmla="*/ 212720 h 266776"/>
                <a:gd name="connsiteX15" fmla="*/ 2294454 w 3043486"/>
                <a:gd name="connsiteY15" fmla="*/ 147885 h 26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3486" h="266776">
                  <a:moveTo>
                    <a:pt x="2294454" y="0"/>
                  </a:moveTo>
                  <a:lnTo>
                    <a:pt x="2348946" y="0"/>
                  </a:lnTo>
                  <a:lnTo>
                    <a:pt x="2348946" y="147885"/>
                  </a:lnTo>
                  <a:cubicBezTo>
                    <a:pt x="2348946" y="183581"/>
                    <a:pt x="2378085" y="212720"/>
                    <a:pt x="2413780" y="212720"/>
                  </a:cubicBezTo>
                  <a:lnTo>
                    <a:pt x="3043486" y="212720"/>
                  </a:lnTo>
                  <a:lnTo>
                    <a:pt x="3043486" y="266776"/>
                  </a:lnTo>
                  <a:lnTo>
                    <a:pt x="2413780" y="266776"/>
                  </a:lnTo>
                  <a:cubicBezTo>
                    <a:pt x="2376482" y="266776"/>
                    <a:pt x="2343552" y="249146"/>
                    <a:pt x="2321700" y="222191"/>
                  </a:cubicBezTo>
                  <a:cubicBezTo>
                    <a:pt x="2299843" y="249146"/>
                    <a:pt x="2266917" y="266776"/>
                    <a:pt x="2229619" y="266776"/>
                  </a:cubicBezTo>
                  <a:cubicBezTo>
                    <a:pt x="2229619" y="266776"/>
                    <a:pt x="1645370" y="266776"/>
                    <a:pt x="1645370" y="266776"/>
                  </a:cubicBezTo>
                  <a:lnTo>
                    <a:pt x="0" y="266776"/>
                  </a:lnTo>
                  <a:lnTo>
                    <a:pt x="0" y="212720"/>
                  </a:lnTo>
                  <a:lnTo>
                    <a:pt x="564104" y="212720"/>
                  </a:lnTo>
                  <a:cubicBezTo>
                    <a:pt x="1139635" y="212720"/>
                    <a:pt x="1600059" y="212720"/>
                    <a:pt x="1600059" y="212720"/>
                  </a:cubicBezTo>
                  <a:lnTo>
                    <a:pt x="2229619" y="212720"/>
                  </a:lnTo>
                  <a:cubicBezTo>
                    <a:pt x="2265314" y="212720"/>
                    <a:pt x="2294454" y="183581"/>
                    <a:pt x="2294454" y="147885"/>
                  </a:cubicBez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sp>
        <p:nvSpPr>
          <p:cNvPr id="218" name="Freihandform: Form 217">
            <a:extLst>
              <a:ext uri="{FF2B5EF4-FFF2-40B4-BE49-F238E27FC236}">
                <a16:creationId xmlns:a16="http://schemas.microsoft.com/office/drawing/2014/main" id="{CEA87009-F8A0-42C5-C691-DB63523B0195}"/>
              </a:ext>
            </a:extLst>
          </p:cNvPr>
          <p:cNvSpPr/>
          <p:nvPr/>
        </p:nvSpPr>
        <p:spPr>
          <a:xfrm>
            <a:off x="9264352" y="4221088"/>
            <a:ext cx="459667" cy="246728"/>
          </a:xfrm>
          <a:custGeom>
            <a:avLst/>
            <a:gdLst>
              <a:gd name="connsiteX0" fmla="*/ 138755 w 167017"/>
              <a:gd name="connsiteY0" fmla="*/ 33159 h 89647"/>
              <a:gd name="connsiteX1" fmla="*/ 131003 w 167017"/>
              <a:gd name="connsiteY1" fmla="*/ 34234 h 89647"/>
              <a:gd name="connsiteX2" fmla="*/ 89128 w 167017"/>
              <a:gd name="connsiteY2" fmla="*/ 0 h 89647"/>
              <a:gd name="connsiteX3" fmla="*/ 48922 w 167017"/>
              <a:gd name="connsiteY3" fmla="*/ 28263 h 89647"/>
              <a:gd name="connsiteX4" fmla="*/ 32825 w 167017"/>
              <a:gd name="connsiteY4" fmla="*/ 24034 h 89647"/>
              <a:gd name="connsiteX5" fmla="*/ 0 w 167017"/>
              <a:gd name="connsiteY5" fmla="*/ 56860 h 89647"/>
              <a:gd name="connsiteX6" fmla="*/ 32194 w 167017"/>
              <a:gd name="connsiteY6" fmla="*/ 89647 h 89647"/>
              <a:gd name="connsiteX7" fmla="*/ 32194 w 167017"/>
              <a:gd name="connsiteY7" fmla="*/ 89647 h 89647"/>
              <a:gd name="connsiteX8" fmla="*/ 138458 w 167017"/>
              <a:gd name="connsiteY8" fmla="*/ 89647 h 89647"/>
              <a:gd name="connsiteX9" fmla="*/ 138458 w 167017"/>
              <a:gd name="connsiteY9" fmla="*/ 89647 h 89647"/>
              <a:gd name="connsiteX10" fmla="*/ 138755 w 167017"/>
              <a:gd name="connsiteY10" fmla="*/ 89647 h 89647"/>
              <a:gd name="connsiteX11" fmla="*/ 167017 w 167017"/>
              <a:gd name="connsiteY11" fmla="*/ 61384 h 89647"/>
              <a:gd name="connsiteX12" fmla="*/ 138755 w 167017"/>
              <a:gd name="connsiteY12" fmla="*/ 33122 h 89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017" h="89647">
                <a:moveTo>
                  <a:pt x="138755" y="33159"/>
                </a:moveTo>
                <a:cubicBezTo>
                  <a:pt x="136084" y="33159"/>
                  <a:pt x="133488" y="33530"/>
                  <a:pt x="131003" y="34234"/>
                </a:cubicBezTo>
                <a:cubicBezTo>
                  <a:pt x="127071" y="14725"/>
                  <a:pt x="109824" y="0"/>
                  <a:pt x="89128" y="0"/>
                </a:cubicBezTo>
                <a:cubicBezTo>
                  <a:pt x="70620" y="0"/>
                  <a:pt x="54856" y="11795"/>
                  <a:pt x="48922" y="28263"/>
                </a:cubicBezTo>
                <a:cubicBezTo>
                  <a:pt x="44174" y="25592"/>
                  <a:pt x="38685" y="24034"/>
                  <a:pt x="32825" y="24034"/>
                </a:cubicBezTo>
                <a:cubicBezTo>
                  <a:pt x="14688" y="24034"/>
                  <a:pt x="0" y="38722"/>
                  <a:pt x="0" y="56860"/>
                </a:cubicBezTo>
                <a:cubicBezTo>
                  <a:pt x="0" y="74997"/>
                  <a:pt x="14354" y="89314"/>
                  <a:pt x="32194" y="89647"/>
                </a:cubicBezTo>
                <a:lnTo>
                  <a:pt x="32194" y="89647"/>
                </a:lnTo>
                <a:cubicBezTo>
                  <a:pt x="32194" y="89647"/>
                  <a:pt x="138458" y="89647"/>
                  <a:pt x="138458" y="89647"/>
                </a:cubicBezTo>
                <a:lnTo>
                  <a:pt x="138458" y="89647"/>
                </a:lnTo>
                <a:cubicBezTo>
                  <a:pt x="138458" y="89647"/>
                  <a:pt x="138644" y="89647"/>
                  <a:pt x="138755" y="89647"/>
                </a:cubicBezTo>
                <a:cubicBezTo>
                  <a:pt x="154370" y="89647"/>
                  <a:pt x="167017" y="77000"/>
                  <a:pt x="167017" y="61384"/>
                </a:cubicBezTo>
                <a:cubicBezTo>
                  <a:pt x="167017" y="45769"/>
                  <a:pt x="154370" y="33122"/>
                  <a:pt x="138755" y="33122"/>
                </a:cubicBezTo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F0A287DF-7D37-B2A2-7A53-333E026A0FF0}"/>
              </a:ext>
            </a:extLst>
          </p:cNvPr>
          <p:cNvSpPr txBox="1"/>
          <p:nvPr/>
        </p:nvSpPr>
        <p:spPr>
          <a:xfrm>
            <a:off x="6400597" y="5992385"/>
            <a:ext cx="15121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Mark OT Medium"/>
                <a:ea typeface="+mn-ea"/>
                <a:cs typeface="EnBW DIN Pro Medium" panose="020B0604020101020102" pitchFamily="34" charset="0"/>
              </a:rPr>
              <a:t>FTTB = Glasfaser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40E2F4DD-7FD6-E409-EDFC-EC3595BFD1D7}"/>
              </a:ext>
            </a:extLst>
          </p:cNvPr>
          <p:cNvSpPr txBox="1"/>
          <p:nvPr/>
        </p:nvSpPr>
        <p:spPr>
          <a:xfrm>
            <a:off x="9696032" y="5996801"/>
            <a:ext cx="22795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EnBW DIN Pro Medium" panose="020B0604020101020102" pitchFamily="34" charset="0"/>
              </a:rPr>
              <a:t>FTTC = Glasfaser + Kupfer</a:t>
            </a:r>
          </a:p>
        </p:txBody>
      </p:sp>
      <p:grpSp>
        <p:nvGrpSpPr>
          <p:cNvPr id="275" name="Gruppieren 274">
            <a:extLst>
              <a:ext uri="{FF2B5EF4-FFF2-40B4-BE49-F238E27FC236}">
                <a16:creationId xmlns:a16="http://schemas.microsoft.com/office/drawing/2014/main" id="{05B11031-1C42-7078-29C0-CFA3AD51898A}"/>
              </a:ext>
            </a:extLst>
          </p:cNvPr>
          <p:cNvGrpSpPr/>
          <p:nvPr/>
        </p:nvGrpSpPr>
        <p:grpSpPr>
          <a:xfrm>
            <a:off x="10056813" y="6682867"/>
            <a:ext cx="2135188" cy="181232"/>
            <a:chOff x="5319890" y="6280802"/>
            <a:chExt cx="6872111" cy="583297"/>
          </a:xfrm>
        </p:grpSpPr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F9688F5B-1887-0158-0D9B-CEEF4DC184B2}"/>
                </a:ext>
              </a:extLst>
            </p:cNvPr>
            <p:cNvSpPr/>
            <p:nvPr/>
          </p:nvSpPr>
          <p:spPr>
            <a:xfrm>
              <a:off x="7378669" y="6280802"/>
              <a:ext cx="4813331" cy="178737"/>
            </a:xfrm>
            <a:custGeom>
              <a:avLst/>
              <a:gdLst>
                <a:gd name="connsiteX0" fmla="*/ 243502 w 4813331"/>
                <a:gd name="connsiteY0" fmla="*/ 0 h 178737"/>
                <a:gd name="connsiteX1" fmla="*/ 4813331 w 4813331"/>
                <a:gd name="connsiteY1" fmla="*/ 0 h 178737"/>
                <a:gd name="connsiteX2" fmla="*/ 4813331 w 4813331"/>
                <a:gd name="connsiteY2" fmla="*/ 178737 h 178737"/>
                <a:gd name="connsiteX3" fmla="*/ 0 w 4813331"/>
                <a:gd name="connsiteY3" fmla="*/ 178737 h 178737"/>
                <a:gd name="connsiteX4" fmla="*/ 3154 w 4813331"/>
                <a:gd name="connsiteY4" fmla="*/ 169485 h 178737"/>
                <a:gd name="connsiteX5" fmla="*/ 243502 w 4813331"/>
                <a:gd name="connsiteY5" fmla="*/ 0 h 17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13331" h="178737">
                  <a:moveTo>
                    <a:pt x="243502" y="0"/>
                  </a:moveTo>
                  <a:lnTo>
                    <a:pt x="4813331" y="0"/>
                  </a:lnTo>
                  <a:lnTo>
                    <a:pt x="4813331" y="178737"/>
                  </a:lnTo>
                  <a:lnTo>
                    <a:pt x="0" y="178737"/>
                  </a:lnTo>
                  <a:lnTo>
                    <a:pt x="3154" y="169485"/>
                  </a:lnTo>
                  <a:cubicBezTo>
                    <a:pt x="39322" y="67920"/>
                    <a:pt x="135629" y="0"/>
                    <a:pt x="243502" y="0"/>
                  </a:cubicBezTo>
                  <a:close/>
                </a:path>
              </a:pathLst>
            </a:custGeom>
            <a:solidFill>
              <a:srgbClr val="8261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AAC3D62D-9B75-580D-9E2B-48BAAF187086}"/>
                </a:ext>
              </a:extLst>
            </p:cNvPr>
            <p:cNvSpPr/>
            <p:nvPr/>
          </p:nvSpPr>
          <p:spPr>
            <a:xfrm>
              <a:off x="5319890" y="6453188"/>
              <a:ext cx="6872111" cy="410911"/>
            </a:xfrm>
            <a:custGeom>
              <a:avLst/>
              <a:gdLst>
                <a:gd name="connsiteX0" fmla="*/ 510381 w 6872111"/>
                <a:gd name="connsiteY0" fmla="*/ 0 h 410911"/>
                <a:gd name="connsiteX1" fmla="*/ 6872111 w 6872111"/>
                <a:gd name="connsiteY1" fmla="*/ 0 h 410911"/>
                <a:gd name="connsiteX2" fmla="*/ 6872111 w 6872111"/>
                <a:gd name="connsiteY2" fmla="*/ 410911 h 410911"/>
                <a:gd name="connsiteX3" fmla="*/ 0 w 6872111"/>
                <a:gd name="connsiteY3" fmla="*/ 410911 h 410911"/>
                <a:gd name="connsiteX4" fmla="*/ 118122 w 6872111"/>
                <a:gd name="connsiteY4" fmla="*/ 219073 h 410911"/>
                <a:gd name="connsiteX5" fmla="*/ 510381 w 6872111"/>
                <a:gd name="connsiteY5" fmla="*/ 0 h 410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72111" h="410911">
                  <a:moveTo>
                    <a:pt x="510381" y="0"/>
                  </a:moveTo>
                  <a:lnTo>
                    <a:pt x="6872111" y="0"/>
                  </a:lnTo>
                  <a:lnTo>
                    <a:pt x="6872111" y="410911"/>
                  </a:lnTo>
                  <a:lnTo>
                    <a:pt x="0" y="410911"/>
                  </a:lnTo>
                  <a:lnTo>
                    <a:pt x="118122" y="219073"/>
                  </a:lnTo>
                  <a:cubicBezTo>
                    <a:pt x="201903" y="82893"/>
                    <a:pt x="350517" y="0"/>
                    <a:pt x="510381" y="0"/>
                  </a:cubicBez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1075665-D373-5B74-809D-12024E5709D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2561" y="5658850"/>
            <a:ext cx="431999" cy="675691"/>
          </a:xfrm>
          <a:prstGeom prst="rect">
            <a:avLst/>
          </a:prstGeom>
        </p:spPr>
      </p:pic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9D354983-614A-28F9-08D7-18AAD62093C5}"/>
              </a:ext>
            </a:extLst>
          </p:cNvPr>
          <p:cNvSpPr txBox="1">
            <a:spLocks/>
          </p:cNvSpPr>
          <p:nvPr/>
        </p:nvSpPr>
        <p:spPr>
          <a:xfrm>
            <a:off x="4385861" y="2201921"/>
            <a:ext cx="3528392" cy="4309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E8F11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Gigabitfähige Zukunftstechnologie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E8F11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Ausbauvariante FTTB/H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(Fiber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to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th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 Building/Home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Glasfaserkabel bis ins Gebäude/Wohnung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8F11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Internet-Bandbreiten </a:t>
            </a:r>
          </a:p>
          <a:p>
            <a:pPr marL="1778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8F11"/>
              </a:buClr>
              <a:buSzTx/>
              <a:buFont typeface="Arial" panose="020B0604020202020204" pitchFamily="34" charset="0"/>
              <a:buChar char="•"/>
              <a:tabLst>
                <a:tab pos="1673225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Privatkunden:		bis zu   1 Gbit/s </a:t>
            </a:r>
          </a:p>
          <a:p>
            <a:pPr marL="1778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E8F11"/>
              </a:buClr>
              <a:buSzTx/>
              <a:buFont typeface="Arial" panose="020B0604020202020204" pitchFamily="34" charset="0"/>
              <a:buChar char="•"/>
              <a:tabLst>
                <a:tab pos="1673225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Geschäftskunden:	bis zu 10 Gbit/s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3D72EF55-CB21-4916-C14A-1DC8EE8A92F3}"/>
              </a:ext>
            </a:extLst>
          </p:cNvPr>
          <p:cNvSpPr txBox="1">
            <a:spLocks/>
          </p:cNvSpPr>
          <p:nvPr/>
        </p:nvSpPr>
        <p:spPr>
          <a:xfrm>
            <a:off x="8610542" y="2201921"/>
            <a:ext cx="3261638" cy="4309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E8F11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Brückentechnologie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E8F11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Ausbauvariante FTTC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(Fiber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to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the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Curb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) Glasfaserkabel bis zum Verteiler (KVz) und  Kupferleitungen in die Gebäude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E8F11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Internet-Bandbreiten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max. bis zu 150 Mbit/s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D2836F3E-773A-5FD3-1507-6E8A58BB0CC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29633" y="5916383"/>
            <a:ext cx="457200" cy="457200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ACD62AAE-3F25-1B66-DFDB-B8041AD56C76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24878" y="5906700"/>
            <a:ext cx="457200" cy="457200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E52AD505-0677-9EBC-0FCA-73D2A62F007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15754" y="1618158"/>
            <a:ext cx="648548" cy="648548"/>
          </a:xfrm>
          <a:prstGeom prst="rect">
            <a:avLst/>
          </a:prstGeom>
        </p:spPr>
      </p:pic>
      <p:pic>
        <p:nvPicPr>
          <p:cNvPr id="234" name="Grafik 233">
            <a:extLst>
              <a:ext uri="{FF2B5EF4-FFF2-40B4-BE49-F238E27FC236}">
                <a16:creationId xmlns:a16="http://schemas.microsoft.com/office/drawing/2014/main" id="{F3859D7E-DEEC-A127-BA27-BF8296AB683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50531" y="1621736"/>
            <a:ext cx="665138" cy="6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3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6B812-A2E8-CA1C-EC84-B65FD6BF2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Headline" pitchFamily="50" charset="0"/>
                <a:ea typeface="EnBW Sans Headline" pitchFamily="50" charset="0"/>
              </a:rPr>
              <a:t>Der Breitbandausbau:</a:t>
            </a:r>
            <a:b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Headline" pitchFamily="50" charset="0"/>
                <a:ea typeface="EnBW Sans Headline" pitchFamily="50" charset="0"/>
              </a:rPr>
            </a:b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Headline" pitchFamily="50" charset="0"/>
                <a:ea typeface="EnBW Sans Headline" pitchFamily="50" charset="0"/>
              </a:rPr>
              <a:t>die 7 wichtigsten Schritte zum schnellen Internet!</a:t>
            </a:r>
            <a:endParaRPr lang="de-DE" dirty="0">
              <a:latin typeface="EnBW Sans Headline" pitchFamily="50" charset="0"/>
              <a:ea typeface="EnBW Sans Headline" pitchFamily="50" charset="0"/>
            </a:endParaRPr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FF49954C-B855-E187-8013-B565DF9BB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EE524D-8DDE-20A5-C65F-22F3AFF04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DACEF4FF-CEF3-D59C-D5C9-7B5D1A98A8C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5" cy="6032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>
                <a:latin typeface="EnBW Sans Text" pitchFamily="50" charset="0"/>
              </a:rPr>
              <a:t>Betreibermodell nach dem Landesförderprogramm Baden-Württemberg</a:t>
            </a:r>
          </a:p>
          <a:p>
            <a:r>
              <a:rPr lang="de-DE">
                <a:solidFill>
                  <a:schemeClr val="tx1"/>
                </a:solidFill>
                <a:latin typeface="EnBW Sans Text" pitchFamily="50" charset="0"/>
              </a:rPr>
              <a:t>Verantwortungsbereich Kommune/Landkrei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2F2DD4D-F3BD-1A4E-45D9-879D28B3B1E8}"/>
              </a:ext>
            </a:extLst>
          </p:cNvPr>
          <p:cNvSpPr/>
          <p:nvPr/>
        </p:nvSpPr>
        <p:spPr>
          <a:xfrm>
            <a:off x="407989" y="2600976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0" rtlCol="0" anchor="ctr" anchorCtr="0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2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E622F7-9756-9E7C-E4F0-FBD8B9CB024E}"/>
              </a:ext>
            </a:extLst>
          </p:cNvPr>
          <p:cNvSpPr/>
          <p:nvPr/>
        </p:nvSpPr>
        <p:spPr>
          <a:xfrm>
            <a:off x="407989" y="3366044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36000" rtlCol="0" anchor="ctr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1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E5D7D3C-E1AA-B6BA-9A18-E8732CCFF516}"/>
              </a:ext>
            </a:extLst>
          </p:cNvPr>
          <p:cNvSpPr/>
          <p:nvPr/>
        </p:nvSpPr>
        <p:spPr>
          <a:xfrm>
            <a:off x="407989" y="4131112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36000" rtlCol="0" anchor="ctr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1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2295C97-739C-60B7-B704-91DE64298188}"/>
              </a:ext>
            </a:extLst>
          </p:cNvPr>
          <p:cNvSpPr/>
          <p:nvPr/>
        </p:nvSpPr>
        <p:spPr>
          <a:xfrm>
            <a:off x="407989" y="4896180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36000" rtlCol="0" anchor="ctr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1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6CBD14E-5F06-91C8-A6D8-7A670C552B1F}"/>
              </a:ext>
            </a:extLst>
          </p:cNvPr>
          <p:cNvSpPr/>
          <p:nvPr/>
        </p:nvSpPr>
        <p:spPr>
          <a:xfrm>
            <a:off x="407989" y="5661248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36000" rtlCol="0" anchor="ctr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1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5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16122E1-9686-C929-FD49-7F2DBC6BA90B}"/>
              </a:ext>
            </a:extLst>
          </p:cNvPr>
          <p:cNvSpPr txBox="1">
            <a:spLocks/>
          </p:cNvSpPr>
          <p:nvPr/>
        </p:nvSpPr>
        <p:spPr>
          <a:xfrm>
            <a:off x="2567608" y="2600976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latin typeface="EnBW Sans Text" pitchFamily="50" charset="0"/>
              </a:rPr>
              <a:t>Kommune/Landkreis stellt die Bandbreiten-Unterversorgung einer Region fest, </a:t>
            </a:r>
            <a:br>
              <a:rPr lang="de-DE" sz="1400" dirty="0">
                <a:latin typeface="EnBW Sans Text" pitchFamily="50" charset="0"/>
              </a:rPr>
            </a:br>
            <a:r>
              <a:rPr lang="de-DE" sz="1400" dirty="0">
                <a:latin typeface="EnBW Sans Text" pitchFamily="50" charset="0"/>
              </a:rPr>
              <a:t>das heißt, es sind nur Bandbreiten &lt;30 Mbit/s verfügbar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F2C71F65-2396-3963-2247-2D0FBC430FF7}"/>
              </a:ext>
            </a:extLst>
          </p:cNvPr>
          <p:cNvSpPr txBox="1">
            <a:spLocks/>
          </p:cNvSpPr>
          <p:nvPr/>
        </p:nvSpPr>
        <p:spPr>
          <a:xfrm>
            <a:off x="2567608" y="3366044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>
                <a:latin typeface="EnBW Sans Text" pitchFamily="50" charset="0"/>
              </a:rPr>
              <a:t>Kommune/Landkreis startet das Ausschreibungsverfahren </a:t>
            </a:r>
            <a:br>
              <a:rPr lang="de-DE" sz="1400">
                <a:latin typeface="EnBW Sans Text" pitchFamily="50" charset="0"/>
              </a:rPr>
            </a:br>
            <a:r>
              <a:rPr lang="de-DE" sz="1400">
                <a:latin typeface="EnBW Sans Text" pitchFamily="50" charset="0"/>
              </a:rPr>
              <a:t>(beispielsweise nach dem Betreibermodell nach Landesförderung Baden-Württemberg).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E4FD51C8-0AC3-05CF-E3F2-B39FD848E2B6}"/>
              </a:ext>
            </a:extLst>
          </p:cNvPr>
          <p:cNvSpPr txBox="1">
            <a:spLocks/>
          </p:cNvSpPr>
          <p:nvPr/>
        </p:nvSpPr>
        <p:spPr>
          <a:xfrm>
            <a:off x="2567608" y="4131112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>
                <a:latin typeface="EnBW Sans Text" pitchFamily="50" charset="0"/>
              </a:rPr>
              <a:t>An der Ausschreibung interessierte Telekommunikationsanbieter geben ein Angebot ab. Die Kommune/Landkreis bewertet diese in einem mehrstufigen Verfahren und erteilt den Auftrag an den obsiegenden Bieter.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37CC73A-4BCB-7AC8-01CE-86F4E87D9716}"/>
              </a:ext>
            </a:extLst>
          </p:cNvPr>
          <p:cNvSpPr txBox="1">
            <a:spLocks/>
          </p:cNvSpPr>
          <p:nvPr/>
        </p:nvSpPr>
        <p:spPr>
          <a:xfrm>
            <a:off x="2567608" y="4896180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>
                <a:latin typeface="EnBW Sans Text" pitchFamily="50" charset="0"/>
              </a:rPr>
              <a:t>Kommune/Landkreis koordiniert und beauftragt den Ausbau des passiven Netzes eigenständig</a:t>
            </a:r>
            <a:br>
              <a:rPr lang="de-DE" sz="1400">
                <a:latin typeface="EnBW Sans Text" pitchFamily="50" charset="0"/>
              </a:rPr>
            </a:br>
            <a:r>
              <a:rPr lang="de-DE" sz="1400">
                <a:latin typeface="EnBW Sans Text" pitchFamily="50" charset="0"/>
              </a:rPr>
              <a:t>Bauarbeiten, Leerrohre einziehen, Glasfaser einblasen, Technikschränke setzen, Hausanschlüsse setzen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4A873F3-040B-ACAF-8668-1922DC15C60D}"/>
              </a:ext>
            </a:extLst>
          </p:cNvPr>
          <p:cNvSpPr txBox="1">
            <a:spLocks/>
          </p:cNvSpPr>
          <p:nvPr/>
        </p:nvSpPr>
        <p:spPr>
          <a:xfrm>
            <a:off x="2567608" y="5661248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>
                <a:latin typeface="EnBW Sans Text" pitchFamily="50" charset="0"/>
              </a:rPr>
              <a:t>Fertiges passives Netz wird von der Kommune/Landkreis an den Gewinner der Breitband-Ausschreibung</a:t>
            </a:r>
            <a:br>
              <a:rPr lang="de-DE" sz="1400">
                <a:latin typeface="EnBW Sans Text" pitchFamily="50" charset="0"/>
              </a:rPr>
            </a:br>
            <a:r>
              <a:rPr lang="de-DE" sz="1400">
                <a:latin typeface="EnBW Sans Text" pitchFamily="50" charset="0"/>
              </a:rPr>
              <a:t>z.B. an die </a:t>
            </a:r>
            <a:r>
              <a:rPr lang="de-DE" sz="1400" err="1">
                <a:latin typeface="EnBW Sans Text" pitchFamily="50" charset="0"/>
              </a:rPr>
              <a:t>NetCom</a:t>
            </a:r>
            <a:r>
              <a:rPr lang="de-DE" sz="1400">
                <a:latin typeface="EnBW Sans Text" pitchFamily="50" charset="0"/>
              </a:rPr>
              <a:t> BW, übergeben.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3779EBC-7392-AB3A-7DE2-F5B6282ED7F3}"/>
              </a:ext>
            </a:extLst>
          </p:cNvPr>
          <p:cNvCxnSpPr>
            <a:cxnSpLocks/>
          </p:cNvCxnSpPr>
          <p:nvPr/>
        </p:nvCxnSpPr>
        <p:spPr>
          <a:xfrm>
            <a:off x="2567608" y="3289510"/>
            <a:ext cx="921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48B7B78-3334-D092-2F68-1BA3E8E008EE}"/>
              </a:ext>
            </a:extLst>
          </p:cNvPr>
          <p:cNvCxnSpPr>
            <a:cxnSpLocks/>
          </p:cNvCxnSpPr>
          <p:nvPr/>
        </p:nvCxnSpPr>
        <p:spPr>
          <a:xfrm>
            <a:off x="2567608" y="4054578"/>
            <a:ext cx="921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B6302008-6B0C-11E0-045D-D4C3393BCF3F}"/>
              </a:ext>
            </a:extLst>
          </p:cNvPr>
          <p:cNvCxnSpPr>
            <a:cxnSpLocks/>
          </p:cNvCxnSpPr>
          <p:nvPr/>
        </p:nvCxnSpPr>
        <p:spPr>
          <a:xfrm>
            <a:off x="2567608" y="4819646"/>
            <a:ext cx="921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24816B56-822E-E777-3566-F6B563EC0296}"/>
              </a:ext>
            </a:extLst>
          </p:cNvPr>
          <p:cNvCxnSpPr>
            <a:cxnSpLocks/>
          </p:cNvCxnSpPr>
          <p:nvPr/>
        </p:nvCxnSpPr>
        <p:spPr>
          <a:xfrm>
            <a:off x="2567608" y="5584714"/>
            <a:ext cx="921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fik 27">
            <a:extLst>
              <a:ext uri="{FF2B5EF4-FFF2-40B4-BE49-F238E27FC236}">
                <a16:creationId xmlns:a16="http://schemas.microsoft.com/office/drawing/2014/main" id="{DCDE38A4-1DA9-6090-D296-BD91B826DF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493" y="3438044"/>
            <a:ext cx="502102" cy="502102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6D30C8B-98DB-3EA9-5E78-9D2EBDA922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887" y="4199686"/>
            <a:ext cx="470509" cy="470509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CD3E474-69D6-3492-CE3A-A8BE97EF7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5877" y="5746757"/>
            <a:ext cx="452014" cy="45201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5ED74AD6-18C6-AE42-AF24-B803F5022C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1442" y="4971977"/>
            <a:ext cx="536203" cy="536203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CA8D21E-EE75-FFA6-C86B-C1818B93BD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469" y="2672976"/>
            <a:ext cx="556906" cy="556906"/>
          </a:xfrm>
          <a:prstGeom prst="rect">
            <a:avLst/>
          </a:prstGeom>
        </p:spPr>
      </p:pic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AE1DA4A6-4198-AD13-8D14-F433FF65C074}"/>
              </a:ext>
            </a:extLst>
          </p:cNvPr>
          <p:cNvSpPr/>
          <p:nvPr/>
        </p:nvSpPr>
        <p:spPr>
          <a:xfrm flipH="1">
            <a:off x="11136000" y="-299922"/>
            <a:ext cx="2400288" cy="3868412"/>
          </a:xfrm>
          <a:custGeom>
            <a:avLst/>
            <a:gdLst>
              <a:gd name="connsiteX0" fmla="*/ 0 w 2400288"/>
              <a:gd name="connsiteY0" fmla="*/ 0 h 3868412"/>
              <a:gd name="connsiteX1" fmla="*/ 0 w 2400288"/>
              <a:gd name="connsiteY1" fmla="*/ 597975 h 3868412"/>
              <a:gd name="connsiteX2" fmla="*/ 1907392 w 2400288"/>
              <a:gd name="connsiteY2" fmla="*/ 2505368 h 3868412"/>
              <a:gd name="connsiteX3" fmla="*/ 544349 w 2400288"/>
              <a:gd name="connsiteY3" fmla="*/ 3868412 h 3868412"/>
              <a:gd name="connsiteX4" fmla="*/ 1142991 w 2400288"/>
              <a:gd name="connsiteY4" fmla="*/ 3868412 h 3868412"/>
              <a:gd name="connsiteX5" fmla="*/ 2326042 w 2400288"/>
              <a:gd name="connsiteY5" fmla="*/ 2685360 h 3868412"/>
              <a:gd name="connsiteX6" fmla="*/ 2326042 w 2400288"/>
              <a:gd name="connsiteY6" fmla="*/ 2326042 h 3868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0288" h="3868412">
                <a:moveTo>
                  <a:pt x="0" y="0"/>
                </a:moveTo>
                <a:lnTo>
                  <a:pt x="0" y="597975"/>
                </a:lnTo>
                <a:lnTo>
                  <a:pt x="1907392" y="2505368"/>
                </a:lnTo>
                <a:lnTo>
                  <a:pt x="544349" y="3868412"/>
                </a:lnTo>
                <a:lnTo>
                  <a:pt x="1142991" y="3868412"/>
                </a:lnTo>
                <a:lnTo>
                  <a:pt x="2326042" y="2685360"/>
                </a:lnTo>
                <a:cubicBezTo>
                  <a:pt x="2425037" y="2586365"/>
                  <a:pt x="2425037" y="2425038"/>
                  <a:pt x="2326042" y="2326042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739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6B812-A2E8-CA1C-EC84-B65FD6BF2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Headline" pitchFamily="50" charset="0"/>
                <a:ea typeface="EnBW Sans Headline" pitchFamily="50" charset="0"/>
              </a:rPr>
              <a:t>Der Breitbandausbau:</a:t>
            </a:r>
            <a:b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Headline" pitchFamily="50" charset="0"/>
                <a:ea typeface="EnBW Sans Headline" pitchFamily="50" charset="0"/>
              </a:rPr>
            </a:b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Headline" pitchFamily="50" charset="0"/>
                <a:ea typeface="EnBW Sans Headline" pitchFamily="50" charset="0"/>
              </a:rPr>
              <a:t>die 7 wichtigsten Schritte zum schnellen Internet!</a:t>
            </a:r>
            <a:endParaRPr lang="de-DE" dirty="0">
              <a:latin typeface="EnBW Sans Headline" pitchFamily="50" charset="0"/>
              <a:ea typeface="EnBW Sans Headline" pitchFamily="50" charset="0"/>
            </a:endParaRP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79D212E3-67AF-2C27-B34B-5D3AC60D8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Dezember 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EE524D-8DDE-20A5-C65F-22F3AFF04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DACEF4FF-CEF3-D59C-D5C9-7B5D1A98A8C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latin typeface="EnBW Sans Text" pitchFamily="50" charset="0"/>
              </a:rPr>
              <a:t>Betreibermodell nach dem Landesförderprogramm Baden-Württemberg</a:t>
            </a:r>
          </a:p>
          <a:p>
            <a:r>
              <a:rPr lang="de-DE" dirty="0">
                <a:solidFill>
                  <a:schemeClr val="tx1"/>
                </a:solidFill>
                <a:latin typeface="EnBW Sans Text" pitchFamily="50" charset="0"/>
              </a:rPr>
              <a:t>Verantwortungsbereich NetCom BW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5091208-21E9-C8F5-3882-505662F37AFF}"/>
              </a:ext>
            </a:extLst>
          </p:cNvPr>
          <p:cNvSpPr/>
          <p:nvPr/>
        </p:nvSpPr>
        <p:spPr>
          <a:xfrm>
            <a:off x="407989" y="2600976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0" rtlCol="0" anchor="ctr" anchorCtr="0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2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6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F82045A-9796-AD2C-2FBE-107719F9BEFB}"/>
              </a:ext>
            </a:extLst>
          </p:cNvPr>
          <p:cNvSpPr/>
          <p:nvPr/>
        </p:nvSpPr>
        <p:spPr>
          <a:xfrm>
            <a:off x="407989" y="3366044"/>
            <a:ext cx="194400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72000" bIns="36000" rtlCol="0" anchor="ctr"/>
          <a:lstStyle/>
          <a:p>
            <a:r>
              <a:rPr lang="de-DE" sz="1400">
                <a:solidFill>
                  <a:schemeClr val="tx1"/>
                </a:solidFill>
                <a:latin typeface="EnBW Sans Text" pitchFamily="50" charset="0"/>
              </a:rPr>
              <a:t>Schritt</a:t>
            </a:r>
            <a:r>
              <a:rPr lang="de-DE" sz="2000">
                <a:solidFill>
                  <a:schemeClr val="tx1"/>
                </a:solidFill>
                <a:latin typeface="EnBW Sans Text" pitchFamily="50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EnBW Sans Text" pitchFamily="50" charset="0"/>
              </a:rPr>
              <a:t>7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DAAB68D-98A8-F761-8B99-A46ED63426B2}"/>
              </a:ext>
            </a:extLst>
          </p:cNvPr>
          <p:cNvSpPr txBox="1">
            <a:spLocks/>
          </p:cNvSpPr>
          <p:nvPr/>
        </p:nvSpPr>
        <p:spPr>
          <a:xfrm>
            <a:off x="2567608" y="2600976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>
                <a:latin typeface="EnBW Sans Text" pitchFamily="50" charset="0"/>
              </a:rPr>
              <a:t>Die </a:t>
            </a:r>
            <a:r>
              <a:rPr lang="de-DE" sz="1400" err="1">
                <a:latin typeface="EnBW Sans Text" pitchFamily="50" charset="0"/>
              </a:rPr>
              <a:t>NetCom</a:t>
            </a:r>
            <a:r>
              <a:rPr lang="de-DE" sz="1400">
                <a:latin typeface="EnBW Sans Text" pitchFamily="50" charset="0"/>
              </a:rPr>
              <a:t> BW verbaut die aktiven Netzkomponenten in die Technikstandorte</a:t>
            </a:r>
            <a:br>
              <a:rPr lang="de-DE" sz="1400">
                <a:latin typeface="EnBW Sans Text" pitchFamily="50" charset="0"/>
              </a:rPr>
            </a:br>
            <a:r>
              <a:rPr lang="de-DE" sz="1400">
                <a:latin typeface="EnBW Sans Text" pitchFamily="50" charset="0"/>
              </a:rPr>
              <a:t>und nimmt anschließend das Netz in Betrieb.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5EE3D0AF-6FD8-EECD-7E0B-1EE4214C0515}"/>
              </a:ext>
            </a:extLst>
          </p:cNvPr>
          <p:cNvSpPr txBox="1">
            <a:spLocks/>
          </p:cNvSpPr>
          <p:nvPr/>
        </p:nvSpPr>
        <p:spPr>
          <a:xfrm>
            <a:off x="2567608" y="3366044"/>
            <a:ext cx="9216000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>
                <a:latin typeface="EnBW Sans Text" pitchFamily="50" charset="0"/>
              </a:rPr>
              <a:t>Das schnelle Internet, Telefonie und IPTV (Fernsehen) der </a:t>
            </a:r>
            <a:r>
              <a:rPr lang="de-DE" sz="1400" err="1">
                <a:latin typeface="EnBW Sans Text" pitchFamily="50" charset="0"/>
              </a:rPr>
              <a:t>NetCom</a:t>
            </a:r>
            <a:r>
              <a:rPr lang="de-DE" sz="1400">
                <a:latin typeface="EnBW Sans Text" pitchFamily="50" charset="0"/>
              </a:rPr>
              <a:t> BW</a:t>
            </a:r>
            <a:br>
              <a:rPr lang="de-DE" sz="1400">
                <a:latin typeface="EnBW Sans Text" pitchFamily="50" charset="0"/>
              </a:rPr>
            </a:br>
            <a:r>
              <a:rPr lang="de-DE" sz="1400">
                <a:latin typeface="EnBW Sans Text" pitchFamily="50" charset="0"/>
              </a:rPr>
              <a:t>können bestellt werden.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E998EBE-1579-98CB-4254-3C7BB86A5B09}"/>
              </a:ext>
            </a:extLst>
          </p:cNvPr>
          <p:cNvCxnSpPr>
            <a:cxnSpLocks/>
          </p:cNvCxnSpPr>
          <p:nvPr/>
        </p:nvCxnSpPr>
        <p:spPr>
          <a:xfrm>
            <a:off x="2567608" y="3289510"/>
            <a:ext cx="921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5AA0D4A7-1CB2-2DC9-CCC3-DF2D74F62F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6050" y="3398641"/>
            <a:ext cx="570636" cy="57063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F1922E2-FA8D-0E97-88F3-3C25915EB9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4310" y="2690619"/>
            <a:ext cx="554954" cy="554954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F664A686-6ED4-CAC1-B733-9C12C768A68F}"/>
              </a:ext>
            </a:extLst>
          </p:cNvPr>
          <p:cNvSpPr/>
          <p:nvPr/>
        </p:nvSpPr>
        <p:spPr>
          <a:xfrm>
            <a:off x="1560000" y="5373000"/>
            <a:ext cx="9216013" cy="64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de-DE" sz="1600" b="1" spc="-5">
                <a:solidFill>
                  <a:schemeClr val="tx2"/>
                </a:solidFill>
                <a:latin typeface="EnBW Sans Text" pitchFamily="50" charset="0"/>
                <a:cs typeface="EnBW DIN Pro"/>
              </a:rPr>
              <a:t>Video in 7 Schritte zum schnellen Internet:</a:t>
            </a:r>
            <a:br>
              <a:rPr lang="de-DE" sz="1600" b="1" spc="-5">
                <a:solidFill>
                  <a:schemeClr val="tx2"/>
                </a:solidFill>
                <a:latin typeface="EnBW Sans Text" pitchFamily="50" charset="0"/>
                <a:cs typeface="EnBW DIN Pro"/>
              </a:rPr>
            </a:br>
            <a:r>
              <a:rPr lang="de-DE" sz="1600" spc="-5">
                <a:solidFill>
                  <a:schemeClr val="tx1"/>
                </a:solidFill>
                <a:latin typeface="EnBW Sans Text" pitchFamily="50" charset="0"/>
                <a:cs typeface="EnBW DIN Pro"/>
              </a:rPr>
              <a:t>https://www.netcom-bw.de/breitbandausbau/7-schritte-zum-schnellen-internet/</a:t>
            </a:r>
          </a:p>
        </p:txBody>
      </p:sp>
      <p:sp>
        <p:nvSpPr>
          <p:cNvPr id="22" name="Rechteck 21">
            <a:hlinkClick r:id="rId4"/>
            <a:extLst>
              <a:ext uri="{FF2B5EF4-FFF2-40B4-BE49-F238E27FC236}">
                <a16:creationId xmlns:a16="http://schemas.microsoft.com/office/drawing/2014/main" id="{1F2A3F4C-C1DA-E338-261A-925D4711AF0B}"/>
              </a:ext>
            </a:extLst>
          </p:cNvPr>
          <p:cNvSpPr/>
          <p:nvPr/>
        </p:nvSpPr>
        <p:spPr>
          <a:xfrm>
            <a:off x="1560000" y="5664032"/>
            <a:ext cx="7344000" cy="3429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err="1">
              <a:solidFill>
                <a:schemeClr val="tx1"/>
              </a:solidFill>
              <a:latin typeface="EnBW Sans Text" pitchFamily="50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A062B24-3527-E658-A0C8-C11678547FC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8" y="5455595"/>
            <a:ext cx="936012" cy="805406"/>
          </a:xfrm>
          <a:prstGeom prst="rect">
            <a:avLst/>
          </a:prstGeom>
        </p:spPr>
      </p:pic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2259F33B-3EC8-B9ED-40B2-83E2D35FDF1F}"/>
              </a:ext>
            </a:extLst>
          </p:cNvPr>
          <p:cNvSpPr/>
          <p:nvPr/>
        </p:nvSpPr>
        <p:spPr>
          <a:xfrm flipH="1">
            <a:off x="9791712" y="2989588"/>
            <a:ext cx="2400288" cy="3868412"/>
          </a:xfrm>
          <a:custGeom>
            <a:avLst/>
            <a:gdLst>
              <a:gd name="connsiteX0" fmla="*/ 0 w 2400288"/>
              <a:gd name="connsiteY0" fmla="*/ 0 h 3868412"/>
              <a:gd name="connsiteX1" fmla="*/ 0 w 2400288"/>
              <a:gd name="connsiteY1" fmla="*/ 597975 h 3868412"/>
              <a:gd name="connsiteX2" fmla="*/ 1907392 w 2400288"/>
              <a:gd name="connsiteY2" fmla="*/ 2505368 h 3868412"/>
              <a:gd name="connsiteX3" fmla="*/ 544349 w 2400288"/>
              <a:gd name="connsiteY3" fmla="*/ 3868412 h 3868412"/>
              <a:gd name="connsiteX4" fmla="*/ 1142991 w 2400288"/>
              <a:gd name="connsiteY4" fmla="*/ 3868412 h 3868412"/>
              <a:gd name="connsiteX5" fmla="*/ 2326042 w 2400288"/>
              <a:gd name="connsiteY5" fmla="*/ 2685360 h 3868412"/>
              <a:gd name="connsiteX6" fmla="*/ 2326042 w 2400288"/>
              <a:gd name="connsiteY6" fmla="*/ 2326042 h 3868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0288" h="3868412">
                <a:moveTo>
                  <a:pt x="0" y="0"/>
                </a:moveTo>
                <a:lnTo>
                  <a:pt x="0" y="597975"/>
                </a:lnTo>
                <a:lnTo>
                  <a:pt x="1907392" y="2505368"/>
                </a:lnTo>
                <a:lnTo>
                  <a:pt x="544349" y="3868412"/>
                </a:lnTo>
                <a:lnTo>
                  <a:pt x="1142991" y="3868412"/>
                </a:lnTo>
                <a:lnTo>
                  <a:pt x="2326042" y="2685360"/>
                </a:lnTo>
                <a:cubicBezTo>
                  <a:pt x="2425037" y="2586365"/>
                  <a:pt x="2425037" y="2425038"/>
                  <a:pt x="2326042" y="2326042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01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, Screenshot, Design enthält.">
            <a:extLst>
              <a:ext uri="{FF2B5EF4-FFF2-40B4-BE49-F238E27FC236}">
                <a16:creationId xmlns:a16="http://schemas.microsoft.com/office/drawing/2014/main" id="{0954EF88-E27D-9AA1-261B-1BA04D9A89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090" y="1663699"/>
            <a:ext cx="3650444" cy="5019748"/>
          </a:xfrm>
          <a:prstGeom prst="rect">
            <a:avLst/>
          </a:prstGeom>
        </p:spPr>
      </p:pic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E757CADC-D517-E2F8-0E99-AEE2D94D3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7CADC-D517-E2F8-0E99-AEE2D94D3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40DAE07D-B4C0-3AA6-A973-2A422FAFB7F1}"/>
              </a:ext>
            </a:extLst>
          </p:cNvPr>
          <p:cNvSpPr/>
          <p:nvPr/>
        </p:nvSpPr>
        <p:spPr>
          <a:xfrm>
            <a:off x="8783782" y="3068999"/>
            <a:ext cx="1728000" cy="3193255"/>
          </a:xfrm>
          <a:custGeom>
            <a:avLst/>
            <a:gdLst>
              <a:gd name="connsiteX0" fmla="*/ 12700 w 1733550"/>
              <a:gd name="connsiteY0" fmla="*/ 0 h 3168650"/>
              <a:gd name="connsiteX1" fmla="*/ 1733550 w 1733550"/>
              <a:gd name="connsiteY1" fmla="*/ 0 h 3168650"/>
              <a:gd name="connsiteX2" fmla="*/ 1733550 w 1733550"/>
              <a:gd name="connsiteY2" fmla="*/ 1562100 h 3168650"/>
              <a:gd name="connsiteX3" fmla="*/ 781050 w 1733550"/>
              <a:gd name="connsiteY3" fmla="*/ 1562100 h 3168650"/>
              <a:gd name="connsiteX4" fmla="*/ 781050 w 1733550"/>
              <a:gd name="connsiteY4" fmla="*/ 3168650 h 3168650"/>
              <a:gd name="connsiteX5" fmla="*/ 0 w 1733550"/>
              <a:gd name="connsiteY5" fmla="*/ 3168650 h 3168650"/>
              <a:gd name="connsiteX6" fmla="*/ 12700 w 1733550"/>
              <a:gd name="connsiteY6" fmla="*/ 0 h 316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33550" h="3168650">
                <a:moveTo>
                  <a:pt x="12700" y="0"/>
                </a:moveTo>
                <a:lnTo>
                  <a:pt x="1733550" y="0"/>
                </a:lnTo>
                <a:lnTo>
                  <a:pt x="1733550" y="1562100"/>
                </a:lnTo>
                <a:lnTo>
                  <a:pt x="781050" y="1562100"/>
                </a:lnTo>
                <a:lnTo>
                  <a:pt x="781050" y="3168650"/>
                </a:lnTo>
                <a:lnTo>
                  <a:pt x="0" y="3168650"/>
                </a:lnTo>
                <a:cubicBezTo>
                  <a:pt x="4233" y="2112433"/>
                  <a:pt x="8467" y="1056217"/>
                  <a:pt x="12700" y="0"/>
                </a:cubicBezTo>
                <a:close/>
              </a:path>
            </a:pathLst>
          </a:custGeom>
          <a:noFill/>
          <a:ln w="381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43FB716-9AC8-848A-7249-C0942FD2FDE8}"/>
              </a:ext>
            </a:extLst>
          </p:cNvPr>
          <p:cNvSpPr/>
          <p:nvPr/>
        </p:nvSpPr>
        <p:spPr>
          <a:xfrm>
            <a:off x="8966516" y="6076820"/>
            <a:ext cx="551154" cy="1555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E0E288-CE96-258F-53BA-779419E599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Erste Schritte zum Glasfaseranschluss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B76AD69-E52C-DA33-6EDB-A921E61640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5723583" cy="4429126"/>
          </a:xfrm>
        </p:spPr>
        <p:txBody>
          <a:bodyPr/>
          <a:lstStyle/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>
                <a:latin typeface="EnBW Sans Text" pitchFamily="50" charset="0"/>
                <a:ea typeface="EnBW Sans Text" pitchFamily="50" charset="0"/>
              </a:rPr>
              <a:t>Ansprechpartner für Glasfaseranschluss</a:t>
            </a:r>
          </a:p>
          <a:p>
            <a:pPr lvl="1">
              <a:spcAft>
                <a:spcPts val="1200"/>
              </a:spcAft>
            </a:pPr>
            <a:r>
              <a:rPr lang="de-DE" sz="1400" dirty="0">
                <a:latin typeface="EnBW Sans Text" pitchFamily="50" charset="0"/>
                <a:ea typeface="EnBW Sans Text" pitchFamily="50" charset="0"/>
              </a:rPr>
              <a:t>Zur Durchführung der Schritte 1 und 2 wenden Sie sich bitte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an Ihre Stadt- oder Gemeindeverwaltung</a:t>
            </a:r>
          </a:p>
          <a:p>
            <a:r>
              <a:rPr lang="de-DE" dirty="0">
                <a:latin typeface="EnBW Sans Text" pitchFamily="50" charset="0"/>
                <a:ea typeface="EnBW Sans Text" pitchFamily="50" charset="0"/>
              </a:rPr>
              <a:t>Ansprechpartner für Internet und Telefonie</a:t>
            </a:r>
          </a:p>
          <a:p>
            <a:pPr lvl="1"/>
            <a:r>
              <a:rPr lang="de-DE" sz="1400" dirty="0">
                <a:latin typeface="EnBW Sans Text" pitchFamily="50" charset="0"/>
                <a:ea typeface="EnBW Sans Text" pitchFamily="50" charset="0"/>
              </a:rPr>
              <a:t>NetCom BW GmbH</a:t>
            </a:r>
            <a:endParaRPr lang="de-DE" sz="800" dirty="0">
              <a:latin typeface="EnBW Sans Text" pitchFamily="50" charset="0"/>
              <a:ea typeface="EnBW Sans Text" pitchFamily="50" charset="0"/>
            </a:endParaRPr>
          </a:p>
          <a:p>
            <a:pPr lvl="2">
              <a:tabLst>
                <a:tab pos="1704975" algn="l"/>
                <a:tab pos="2419350" algn="l"/>
              </a:tabLst>
            </a:pP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Privatkunden</a:t>
            </a:r>
            <a:r>
              <a:rPr lang="de-DE" sz="1400" b="1" dirty="0"/>
              <a:t>	</a:t>
            </a:r>
            <a:r>
              <a:rPr lang="de-DE" sz="1400" dirty="0">
                <a:latin typeface="EnBW Sans Text" pitchFamily="50" charset="0"/>
                <a:ea typeface="EnBW Sans Text" pitchFamily="50" charset="0"/>
              </a:rPr>
              <a:t>Telefon:	0711 34034034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	www. netcom-bw.de/</a:t>
            </a:r>
            <a:r>
              <a:rPr lang="de-DE" sz="1400" dirty="0" err="1">
                <a:latin typeface="EnBW Sans Text" pitchFamily="50" charset="0"/>
                <a:ea typeface="EnBW Sans Text" pitchFamily="50" charset="0"/>
              </a:rPr>
              <a:t>kontaktformular</a:t>
            </a:r>
            <a:endParaRPr lang="de-DE" sz="1400" dirty="0">
              <a:latin typeface="EnBW Sans Text" pitchFamily="50" charset="0"/>
              <a:ea typeface="EnBW Sans Text" pitchFamily="50" charset="0"/>
            </a:endParaRPr>
          </a:p>
          <a:p>
            <a:pPr lvl="2">
              <a:tabLst>
                <a:tab pos="1704975" algn="l"/>
                <a:tab pos="2419350" algn="l"/>
              </a:tabLst>
            </a:pPr>
            <a:r>
              <a:rPr lang="de-DE" sz="1400" b="1" dirty="0">
                <a:latin typeface="EnBW Sans Text" pitchFamily="50" charset="0"/>
                <a:ea typeface="EnBW Sans Text" pitchFamily="50" charset="0"/>
              </a:rPr>
              <a:t>Gewerbekunden</a:t>
            </a:r>
            <a:r>
              <a:rPr lang="de-DE" sz="1400" b="1" dirty="0"/>
              <a:t>	</a:t>
            </a:r>
            <a:r>
              <a:rPr lang="de-DE" sz="1400" dirty="0">
                <a:latin typeface="EnBW Sans Text" pitchFamily="50" charset="0"/>
                <a:ea typeface="EnBW Sans Text" pitchFamily="50" charset="0"/>
              </a:rPr>
              <a:t>Telefon: 0711 34034040</a:t>
            </a:r>
            <a:br>
              <a:rPr lang="de-DE" sz="1400" dirty="0">
                <a:latin typeface="EnBW Sans Text" pitchFamily="50" charset="0"/>
                <a:ea typeface="EnBW Sans Text" pitchFamily="50" charset="0"/>
              </a:rPr>
            </a:br>
            <a:r>
              <a:rPr lang="de-DE" sz="1400" dirty="0">
                <a:latin typeface="EnBW Sans Text" pitchFamily="50" charset="0"/>
                <a:ea typeface="EnBW Sans Text" pitchFamily="50" charset="0"/>
              </a:rPr>
              <a:t>	www. netcom-bw.de/</a:t>
            </a:r>
            <a:r>
              <a:rPr lang="de-DE" sz="1400" dirty="0" err="1">
                <a:latin typeface="EnBW Sans Text" pitchFamily="50" charset="0"/>
                <a:ea typeface="EnBW Sans Text" pitchFamily="50" charset="0"/>
              </a:rPr>
              <a:t>kontaktformular</a:t>
            </a:r>
            <a:endParaRPr lang="de-DE" sz="1400" dirty="0">
              <a:latin typeface="EnBW Sans Text" pitchFamily="50" charset="0"/>
              <a:ea typeface="EnBW Sans Text" pitchFamily="50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02B24E-F997-67B0-F22A-0957D3C99D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  <p:sp>
        <p:nvSpPr>
          <p:cNvPr id="9" name="Textfeld 29">
            <a:extLst>
              <a:ext uri="{FF2B5EF4-FFF2-40B4-BE49-F238E27FC236}">
                <a16:creationId xmlns:a16="http://schemas.microsoft.com/office/drawing/2014/main" id="{DFE3D92A-73BD-5556-E401-F471CDCC912B}"/>
              </a:ext>
            </a:extLst>
          </p:cNvPr>
          <p:cNvSpPr txBox="1"/>
          <p:nvPr/>
        </p:nvSpPr>
        <p:spPr bwMode="gray">
          <a:xfrm>
            <a:off x="806822" y="1942456"/>
            <a:ext cx="1511811" cy="2857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marL="0" marR="0" lvl="0" indent="0" algn="l" defTabSz="12108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714375" algn="l"/>
              </a:tabLst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EnBW DIN Pro"/>
                <a:sym typeface="EnBW DIN Pro"/>
              </a:rPr>
              <a:t>Glasfaser-Leerrohr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65649B1A-7A7E-7884-A61A-96D60F59E095}"/>
              </a:ext>
            </a:extLst>
          </p:cNvPr>
          <p:cNvCxnSpPr/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>
            <a:extLst>
              <a:ext uri="{FF2B5EF4-FFF2-40B4-BE49-F238E27FC236}">
                <a16:creationId xmlns:a16="http://schemas.microsoft.com/office/drawing/2014/main" id="{AD0801E5-2DFE-E7E8-AF9D-0B02E5C2E7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8" t="12263" r="15554" b="12262"/>
          <a:stretch/>
        </p:blipFill>
        <p:spPr bwMode="auto">
          <a:xfrm>
            <a:off x="9053974" y="6086743"/>
            <a:ext cx="376238" cy="135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Inhaltsplatzhalter 14">
            <a:extLst>
              <a:ext uri="{FF2B5EF4-FFF2-40B4-BE49-F238E27FC236}">
                <a16:creationId xmlns:a16="http://schemas.microsoft.com/office/drawing/2014/main" id="{42970C6F-9EA7-CA30-FB8A-E765ACDD64AB}"/>
              </a:ext>
            </a:extLst>
          </p:cNvPr>
          <p:cNvSpPr txBox="1">
            <a:spLocks/>
          </p:cNvSpPr>
          <p:nvPr/>
        </p:nvSpPr>
        <p:spPr>
          <a:xfrm>
            <a:off x="6384032" y="1844674"/>
            <a:ext cx="1941011" cy="44291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In </a:t>
            </a:r>
            <a:r>
              <a:rPr kumimoji="0" lang="de-DE" sz="44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4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 Schritten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zum Glasfaseranschluss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23DC4C4-E1C3-73BE-09A9-F937C22998CB}"/>
              </a:ext>
            </a:extLst>
          </p:cNvPr>
          <p:cNvSpPr/>
          <p:nvPr/>
        </p:nvSpPr>
        <p:spPr>
          <a:xfrm>
            <a:off x="9803900" y="6076820"/>
            <a:ext cx="648200" cy="15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998FB07-A62D-F3BE-4345-681C4A40C98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38587" y="6100806"/>
            <a:ext cx="578826" cy="10682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06C4136-4AAC-7E1E-7D99-B48A113CF95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9307" y="1808778"/>
            <a:ext cx="457200" cy="457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7F53EE5-BD84-678A-0446-544A4126CB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1144" y="2194233"/>
            <a:ext cx="457200" cy="457200"/>
          </a:xfrm>
          <a:prstGeom prst="rect">
            <a:avLst/>
          </a:prstGeom>
        </p:spPr>
      </p:pic>
      <p:sp>
        <p:nvSpPr>
          <p:cNvPr id="17" name="Textfeld 29">
            <a:extLst>
              <a:ext uri="{FF2B5EF4-FFF2-40B4-BE49-F238E27FC236}">
                <a16:creationId xmlns:a16="http://schemas.microsoft.com/office/drawing/2014/main" id="{889917DE-875D-14CA-0878-3EDF56D9E5AC}"/>
              </a:ext>
            </a:extLst>
          </p:cNvPr>
          <p:cNvSpPr txBox="1"/>
          <p:nvPr/>
        </p:nvSpPr>
        <p:spPr bwMode="gray">
          <a:xfrm>
            <a:off x="806391" y="2334909"/>
            <a:ext cx="1517280" cy="42143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marL="0" marR="0" lvl="0" indent="0" algn="l" defTabSz="12108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714375" algn="l"/>
              </a:tabLst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EnBW DIN Pro"/>
                <a:sym typeface="EnBW DIN Pro"/>
              </a:rPr>
              <a:t>Glasfaseranschlussbox</a:t>
            </a:r>
          </a:p>
        </p:txBody>
      </p:sp>
    </p:spTree>
    <p:extLst>
      <p:ext uri="{BB962C8B-B14F-4D97-AF65-F5344CB8AC3E}">
        <p14:creationId xmlns:p14="http://schemas.microsoft.com/office/powerpoint/2010/main" val="52320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Angebote für Privatkunden</a:t>
            </a:r>
          </a:p>
        </p:txBody>
      </p:sp>
    </p:spTree>
    <p:extLst>
      <p:ext uri="{BB962C8B-B14F-4D97-AF65-F5344CB8AC3E}">
        <p14:creationId xmlns:p14="http://schemas.microsoft.com/office/powerpoint/2010/main" val="175723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A71F5-D081-E35A-E533-A432F7B2B9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CD323D6-A5F5-BDED-7022-EF6BBC9BB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Ob Internet, Telefon oder IPTV —</a:t>
            </a:r>
            <a:br>
              <a:rPr lang="de-DE" b="1" dirty="0">
                <a:latin typeface="EnBW Sans Headline" pitchFamily="50" charset="0"/>
                <a:ea typeface="EnBW Sans Headline" pitchFamily="50" charset="0"/>
              </a:rPr>
            </a:br>
            <a:r>
              <a:rPr lang="de-DE" b="1" dirty="0">
                <a:latin typeface="EnBW Sans Headline" pitchFamily="50" charset="0"/>
                <a:ea typeface="EnBW Sans Headline" pitchFamily="50" charset="0"/>
              </a:rPr>
              <a:t>wir sind Ihr Ansprechpartner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0DAC992-132C-D08B-3C19-66F34DECC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Sans Text" pitchFamily="50" charset="0"/>
              <a:ea typeface="+mn-ea"/>
              <a:cs typeface="+mn-cs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18D60C5-BF0B-147D-C370-B213F777CA89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07988" y="1844675"/>
            <a:ext cx="4584700" cy="331788"/>
          </a:xfrm>
        </p:spPr>
        <p:txBody>
          <a:bodyPr/>
          <a:lstStyle/>
          <a:p>
            <a:r>
              <a:rPr lang="de-DE" dirty="0" err="1">
                <a:ea typeface="EnBW Sans Text" pitchFamily="50" charset="0"/>
              </a:rPr>
              <a:t>GLASFASER.home</a:t>
            </a:r>
            <a:endParaRPr lang="de-DE" dirty="0">
              <a:ea typeface="EnBW Sans Text" pitchFamily="50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F5E04AB-65BD-B877-C1AA-9DF69D363FEB}"/>
              </a:ext>
            </a:extLst>
          </p:cNvPr>
          <p:cNvSpPr/>
          <p:nvPr/>
        </p:nvSpPr>
        <p:spPr bwMode="auto">
          <a:xfrm>
            <a:off x="3624163" y="2693973"/>
            <a:ext cx="1800000" cy="4426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Pct val="140000"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Headline" pitchFamily="2" charset="0"/>
                <a:ea typeface="EnBW Sans Headline" pitchFamily="2" charset="0"/>
                <a:cs typeface="EnBW DIN Pro Medium" panose="020B0604020101020102" pitchFamily="34" charset="0"/>
              </a:rPr>
              <a:t>1.000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8EC448F-A727-CBC1-E447-1C05D7C117BE}"/>
              </a:ext>
            </a:extLst>
          </p:cNvPr>
          <p:cNvSpPr/>
          <p:nvPr/>
        </p:nvSpPr>
        <p:spPr bwMode="auto">
          <a:xfrm>
            <a:off x="5621043" y="2670908"/>
            <a:ext cx="1800000" cy="4426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Pct val="140000"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Headline" pitchFamily="2" charset="0"/>
                <a:ea typeface="EnBW Sans Headline" pitchFamily="2" charset="0"/>
                <a:cs typeface="EnBW DIN Pro Medium" panose="020B0604020101020102" pitchFamily="34" charset="0"/>
              </a:rPr>
              <a:t>600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2B3EC69-556C-46C1-F8E0-FE4FBC70E9A2}"/>
              </a:ext>
            </a:extLst>
          </p:cNvPr>
          <p:cNvSpPr/>
          <p:nvPr/>
        </p:nvSpPr>
        <p:spPr bwMode="auto">
          <a:xfrm>
            <a:off x="7421043" y="2670907"/>
            <a:ext cx="1800000" cy="4426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Pct val="140000"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Headline" pitchFamily="2" charset="0"/>
                <a:ea typeface="EnBW Sans Headline" pitchFamily="2" charset="0"/>
                <a:cs typeface="EnBW DIN Pro Medium" panose="020B0604020101020102" pitchFamily="34" charset="0"/>
              </a:rPr>
              <a:t>300</a:t>
            </a: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18D5DB8C-E627-22BB-8E05-93F43B068518}"/>
              </a:ext>
            </a:extLst>
          </p:cNvPr>
          <p:cNvGraphicFramePr>
            <a:graphicFrameLocks noGrp="1"/>
          </p:cNvGraphicFramePr>
          <p:nvPr/>
        </p:nvGraphicFramePr>
        <p:xfrm>
          <a:off x="407989" y="2827554"/>
          <a:ext cx="10728062" cy="363852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705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3144715710"/>
                    </a:ext>
                  </a:extLst>
                </a:gridCol>
                <a:gridCol w="371951">
                  <a:extLst>
                    <a:ext uri="{9D8B030D-6E8A-4147-A177-3AD203B41FA5}">
                      <a16:colId xmlns:a16="http://schemas.microsoft.com/office/drawing/2014/main" val="2635424391"/>
                    </a:ext>
                  </a:extLst>
                </a:gridCol>
                <a:gridCol w="19241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279">
                  <a:extLst>
                    <a:ext uri="{9D8B030D-6E8A-4147-A177-3AD203B41FA5}">
                      <a16:colId xmlns:a16="http://schemas.microsoft.com/office/drawing/2014/main" val="4287692278"/>
                    </a:ext>
                  </a:extLst>
                </a:gridCol>
                <a:gridCol w="17188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428">
                  <a:extLst>
                    <a:ext uri="{9D8B030D-6E8A-4147-A177-3AD203B41FA5}">
                      <a16:colId xmlns:a16="http://schemas.microsoft.com/office/drawing/2014/main" val="3189669372"/>
                    </a:ext>
                  </a:extLst>
                </a:gridCol>
                <a:gridCol w="16936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567">
                  <a:extLst>
                    <a:ext uri="{9D8B030D-6E8A-4147-A177-3AD203B41FA5}">
                      <a16:colId xmlns:a16="http://schemas.microsoft.com/office/drawing/2014/main" val="3199769210"/>
                    </a:ext>
                  </a:extLst>
                </a:gridCol>
                <a:gridCol w="1878484">
                  <a:extLst>
                    <a:ext uri="{9D8B030D-6E8A-4147-A177-3AD203B41FA5}">
                      <a16:colId xmlns:a16="http://schemas.microsoft.com/office/drawing/2014/main" val="4292254887"/>
                    </a:ext>
                  </a:extLst>
                </a:gridCol>
              </a:tblGrid>
              <a:tr h="30304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400" b="0" kern="1200" dirty="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400" b="1">
                        <a:solidFill>
                          <a:schemeClr val="bg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400" b="1" dirty="0">
                        <a:solidFill>
                          <a:schemeClr val="bg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 dirty="0">
                        <a:solidFill>
                          <a:schemeClr val="bg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754561"/>
                  </a:ext>
                </a:extLst>
              </a:tr>
              <a:tr h="30304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</a:rPr>
                        <a:t>Down-/Upload in Mbit/s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en-US" sz="400" b="0" kern="1200">
                        <a:solidFill>
                          <a:schemeClr val="tx2"/>
                        </a:solidFill>
                        <a:effectLst/>
                        <a:latin typeface="EnBW Sans Text" pitchFamily="50" charset="0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1.000/500</a:t>
                      </a: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600/300</a:t>
                      </a: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300/150</a:t>
                      </a: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150/75</a:t>
                      </a:r>
                    </a:p>
                  </a:txBody>
                  <a:tcPr marL="0" marR="0" marT="14400" marB="144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43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</a:rPr>
                        <a:t>Internetflatrate</a:t>
                      </a:r>
                    </a:p>
                  </a:txBody>
                  <a:tcPr marL="0" marR="0" marT="25200" marB="252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9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</a:rPr>
                        <a:t>Telefonanschluss mit zwei Rufnummern</a:t>
                      </a:r>
                      <a:b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</a:rPr>
                      </a:b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</a:rPr>
                        <a:t>inklusive Flatrate ins deutsche Festnetz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3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  <a:ea typeface="Times New Roman"/>
                          <a:cs typeface="EnBW DIN Pro"/>
                        </a:rPr>
                        <a:t>Maximal 4 Rufnummern wählbar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EnBW Sans Text" pitchFamily="50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EnBW Sans Text" pitchFamily="50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0719152"/>
                  </a:ext>
                </a:extLst>
              </a:tr>
              <a:tr h="3246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  <a:ea typeface="Times New Roman"/>
                          <a:cs typeface="EnBW DIN Pro"/>
                        </a:rPr>
                        <a:t>Preis 1. - 3. Monat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1" dirty="0">
                        <a:solidFill>
                          <a:schemeClr val="tx2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EnBW Sans Text" pitchFamily="50" charset="0"/>
                        </a:rPr>
                        <a:t>9,9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EnBW Sans Text" pitchFamily="50" charset="0"/>
                        </a:rPr>
                        <a:t>9,90 €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EnBW Sans Text" pitchFamily="50" charset="0"/>
                        </a:rPr>
                        <a:t>9,90 €</a:t>
                      </a:r>
                    </a:p>
                  </a:txBody>
                  <a:tcPr marL="0" marR="0" marT="25200" marB="25200" anchor="ctr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>
                          <a:solidFill>
                            <a:schemeClr val="tx2"/>
                          </a:solidFill>
                          <a:latin typeface="EnBW Sans Text" pitchFamily="50" charset="0"/>
                        </a:rPr>
                        <a:t>9,9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2383880"/>
                  </a:ext>
                </a:extLst>
              </a:tr>
              <a:tr h="1782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rgbClr val="C3BCB6"/>
                          </a:solidFill>
                          <a:effectLst/>
                          <a:latin typeface="EnBW Sans Text" pitchFamily="50" charset="0"/>
                          <a:ea typeface="Times New Roman"/>
                          <a:cs typeface="EnBW DIN Pro"/>
                        </a:rPr>
                        <a:t>Preis ab 4. Monat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rgbClr val="C3BCB6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b="0" dirty="0">
                        <a:solidFill>
                          <a:srgbClr val="C3BCB6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C3BCB6"/>
                          </a:solidFill>
                          <a:latin typeface="EnBW Sans Text" pitchFamily="50" charset="0"/>
                        </a:rPr>
                        <a:t>69,9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rgbClr val="C3BCB6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C3BCB6"/>
                          </a:solidFill>
                          <a:latin typeface="EnBW Sans Text" pitchFamily="50" charset="0"/>
                        </a:rPr>
                        <a:t>59,90 €</a:t>
                      </a: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rgbClr val="C3BCB6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C3BCB6"/>
                          </a:solidFill>
                          <a:latin typeface="EnBW Sans Text" pitchFamily="50" charset="0"/>
                        </a:rPr>
                        <a:t>49,90 €</a:t>
                      </a: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0">
                        <a:solidFill>
                          <a:srgbClr val="C3BCB6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rgbClr val="C3BCB6"/>
                          </a:solidFill>
                          <a:latin typeface="EnBW Sans Text" pitchFamily="50" charset="0"/>
                        </a:rPr>
                        <a:t>44,9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1118416"/>
                  </a:ext>
                </a:extLst>
              </a:tr>
              <a:tr h="2636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  <a:ea typeface="Times New Roman"/>
                          <a:cs typeface="EnBW DIN Pro"/>
                        </a:rPr>
                        <a:t>Einmaliges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  <a:ea typeface="Times New Roman"/>
                          <a:cs typeface="EnBW DIN Pro"/>
                        </a:rPr>
                        <a:t>Einrichtungsentgelt: </a:t>
                      </a: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970472"/>
                  </a:ext>
                </a:extLst>
              </a:tr>
              <a:tr h="2636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  <a:ea typeface="+mn-ea"/>
                          <a:cs typeface="+mn-cs"/>
                        </a:rPr>
                        <a:t>Vertragslaufzeit 24 Monate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4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4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4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4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840074"/>
                  </a:ext>
                </a:extLst>
              </a:tr>
              <a:tr h="2636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EnBW Sans Text" pitchFamily="50" charset="0"/>
                          <a:ea typeface="+mn-ea"/>
                          <a:cs typeface="+mn-cs"/>
                        </a:rPr>
                        <a:t>Vertragslaufzeit 12 Monate 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 kern="1200">
                        <a:solidFill>
                          <a:schemeClr val="tx1"/>
                        </a:solidFill>
                        <a:effectLst/>
                        <a:latin typeface="EnBW Sans Text" pitchFamily="50" charset="0"/>
                        <a:ea typeface="Times New Roman"/>
                        <a:cs typeface="EnBW DIN Pro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12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12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12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" b="1" dirty="0">
                        <a:solidFill>
                          <a:schemeClr val="tx1"/>
                        </a:solidFill>
                        <a:latin typeface="EnBW Sans Text" pitchFamily="50" charset="0"/>
                      </a:endParaRP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latin typeface="EnBW Sans Text" pitchFamily="50" charset="0"/>
                        </a:rPr>
                        <a:t>129,00 €</a:t>
                      </a:r>
                    </a:p>
                  </a:txBody>
                  <a:tcPr marL="0" marR="0" marT="25200" marB="252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999023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64D0888C-9BE8-63F9-C08A-4C1A3B827348}"/>
              </a:ext>
            </a:extLst>
          </p:cNvPr>
          <p:cNvSpPr txBox="1"/>
          <p:nvPr/>
        </p:nvSpPr>
        <p:spPr bwMode="gray">
          <a:xfrm>
            <a:off x="4260719" y="6558009"/>
            <a:ext cx="11376000" cy="160548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950" algn="l"/>
              </a:tabLst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+mn-ea"/>
                <a:cs typeface="+mn-cs"/>
              </a:rPr>
              <a:t>*  Gültig bei einer Vertragslaufzeit von 24 Monaten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D98AA0BA-6B69-E1BA-0E1B-D4320F9499F7}"/>
              </a:ext>
            </a:extLst>
          </p:cNvPr>
          <p:cNvSpPr txBox="1">
            <a:spLocks/>
          </p:cNvSpPr>
          <p:nvPr/>
        </p:nvSpPr>
        <p:spPr>
          <a:xfrm>
            <a:off x="5666531" y="2238931"/>
            <a:ext cx="1709025" cy="287799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DIN-Regular" panose="020B0500010101010101" pitchFamily="34" charset="0"/>
                <a:cs typeface="EnBW DIN Pro Medium" panose="020B0604020101020102" pitchFamily="34" charset="0"/>
              </a:rPr>
              <a:t>Bestseller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7C76CFA0-4888-66D4-781E-E5583BCF66E3}"/>
              </a:ext>
            </a:extLst>
          </p:cNvPr>
          <p:cNvSpPr txBox="1">
            <a:spLocks/>
          </p:cNvSpPr>
          <p:nvPr/>
        </p:nvSpPr>
        <p:spPr>
          <a:xfrm>
            <a:off x="3565117" y="2238931"/>
            <a:ext cx="1930807" cy="287799"/>
          </a:xfrm>
          <a:prstGeom prst="rect">
            <a:avLst/>
          </a:prstGeom>
          <a:solidFill>
            <a:srgbClr val="FDC83A"/>
          </a:solidFill>
          <a:ln w="76200">
            <a:solidFill>
              <a:srgbClr val="FDC83A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Sans Text" pitchFamily="50" charset="0"/>
                <a:ea typeface="DIN-Regular" panose="020B0500010101010101" pitchFamily="34" charset="0"/>
                <a:cs typeface="EnBW DIN Pro Medium" panose="020B0604020101020102" pitchFamily="34" charset="0"/>
              </a:rPr>
              <a:t>Gigabit-Tarif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67F690C-1946-A6AC-298E-0FE3299CAB30}"/>
              </a:ext>
            </a:extLst>
          </p:cNvPr>
          <p:cNvSpPr/>
          <p:nvPr/>
        </p:nvSpPr>
        <p:spPr bwMode="auto">
          <a:xfrm>
            <a:off x="9362299" y="2693973"/>
            <a:ext cx="1800000" cy="4426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Pct val="140000"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Sans Headline" pitchFamily="2" charset="0"/>
                <a:ea typeface="EnBW Sans Headline" pitchFamily="2" charset="0"/>
                <a:cs typeface="EnBW DIN Pro Medium" panose="020B0604020101020102" pitchFamily="34" charset="0"/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377862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_tK_cSliETx2Sa4L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_tK_cSliETx2Sa4LP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NetCom BW 2023">
  <a:themeElements>
    <a:clrScheme name="NetCom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322A26"/>
      </a:hlink>
      <a:folHlink>
        <a:srgbClr val="322A26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NetCom BW_17082023.potx" id="{5377A4B1-D082-4A6D-9857-A68C419DC380}" vid="{09677112-5AED-40C5-B364-FC89B37000D8}"/>
    </a:ext>
  </a:extLst>
</a:theme>
</file>

<file path=ppt/theme/theme2.xml><?xml version="1.0" encoding="utf-8"?>
<a:theme xmlns:a="http://schemas.openxmlformats.org/drawingml/2006/main" name="1_Master NetCom BW 2023">
  <a:themeElements>
    <a:clrScheme name="NetCom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322A26"/>
      </a:hlink>
      <a:folHlink>
        <a:srgbClr val="322A26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NetCom BW_17082023.potx" id="{5377A4B1-D082-4A6D-9857-A68C419DC380}" vid="{09677112-5AED-40C5-B364-FC89B37000D8}"/>
    </a:ext>
  </a:extLst>
</a:theme>
</file>

<file path=ppt/theme/theme3.xml><?xml version="1.0" encoding="utf-8"?>
<a:theme xmlns:a="http://schemas.openxmlformats.org/drawingml/2006/main" name="2_Master NetCom BW 2023">
  <a:themeElements>
    <a:clrScheme name="NetCom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322A26"/>
      </a:hlink>
      <a:folHlink>
        <a:srgbClr val="322A26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NetCom BW_17082023.potx" id="{5377A4B1-D082-4A6D-9857-A68C419DC380}" vid="{09677112-5AED-40C5-B364-FC89B37000D8}"/>
    </a:ext>
  </a:extLst>
</a:theme>
</file>

<file path=ppt/theme/theme4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2704DAEF45B045A3894D3402209EBB" ma:contentTypeVersion="16" ma:contentTypeDescription="Ein neues Dokument erstellen." ma:contentTypeScope="" ma:versionID="6b4e0931ea89140ed4555796d02d57e0">
  <xsd:schema xmlns:xsd="http://www.w3.org/2001/XMLSchema" xmlns:xs="http://www.w3.org/2001/XMLSchema" xmlns:p="http://schemas.microsoft.com/office/2006/metadata/properties" xmlns:ns2="6cb0d9fb-1d88-4a6e-9af2-b0912939332c" xmlns:ns3="172d0ffc-d686-45da-894e-afeefd756c93" targetNamespace="http://schemas.microsoft.com/office/2006/metadata/properties" ma:root="true" ma:fieldsID="de17ce45592ee98e7aad5e153590a6d6" ns2:_="" ns3:_="">
    <xsd:import namespace="6cb0d9fb-1d88-4a6e-9af2-b0912939332c"/>
    <xsd:import namespace="172d0ffc-d686-45da-894e-afeefd756c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b0d9fb-1d88-4a6e-9af2-b091293933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2d0ffc-d686-45da-894e-afeefd756c9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02ccc8c-ab54-4146-bc8b-c918d2623677}" ma:internalName="TaxCatchAll" ma:showField="CatchAllData" ma:web="172d0ffc-d686-45da-894e-afeefd756c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cb0d9fb-1d88-4a6e-9af2-b0912939332c">
      <Terms xmlns="http://schemas.microsoft.com/office/infopath/2007/PartnerControls"/>
    </lcf76f155ced4ddcb4097134ff3c332f>
    <TaxCatchAll xmlns="172d0ffc-d686-45da-894e-afeefd756c9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1596AE-16FF-4AD2-A7BD-AF9497A0B2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b0d9fb-1d88-4a6e-9af2-b0912939332c"/>
    <ds:schemaRef ds:uri="172d0ffc-d686-45da-894e-afeefd756c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78EC9A-143A-40B1-AFDB-626E1455AB49}">
  <ds:schemaRefs>
    <ds:schemaRef ds:uri="172d0ffc-d686-45da-894e-afeefd756c93"/>
    <ds:schemaRef ds:uri="6cb0d9fb-1d88-4a6e-9af2-b0912939332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A9859A3-4A4C-477D-8B09-0174406370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NetCom BW_17082023</Template>
  <TotalTime>0</TotalTime>
  <Words>1224</Words>
  <Application>Microsoft Office PowerPoint</Application>
  <PresentationFormat>Breitbild</PresentationFormat>
  <Paragraphs>223</Paragraphs>
  <Slides>16</Slides>
  <Notes>7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8" baseType="lpstr">
      <vt:lpstr>Arial</vt:lpstr>
      <vt:lpstr>EnBW DIN Pro</vt:lpstr>
      <vt:lpstr>EnBW DIN Pro Medium</vt:lpstr>
      <vt:lpstr>EnBW Sans Headline</vt:lpstr>
      <vt:lpstr>EnBW Sans Headline bold</vt:lpstr>
      <vt:lpstr>EnBW Sans Text</vt:lpstr>
      <vt:lpstr>Mark OT Medium</vt:lpstr>
      <vt:lpstr>Wingdings 2</vt:lpstr>
      <vt:lpstr>Master NetCom BW 2023</vt:lpstr>
      <vt:lpstr>1_Master NetCom BW 2023</vt:lpstr>
      <vt:lpstr>2_Master NetCom BW 2023</vt:lpstr>
      <vt:lpstr>think-cell Folie</vt:lpstr>
      <vt:lpstr>Bereit fürs Glasfaserland, Neuhausen ob Eck?</vt:lpstr>
      <vt:lpstr>Wir sind für Sie nah.</vt:lpstr>
      <vt:lpstr>Aus der Region für die Region.</vt:lpstr>
      <vt:lpstr>Wir bringen Sie ans Highspeed-Netz</vt:lpstr>
      <vt:lpstr>Der Breitbandausbau: die 7 wichtigsten Schritte zum schnellen Internet!</vt:lpstr>
      <vt:lpstr>Der Breitbandausbau: die 7 wichtigsten Schritte zum schnellen Internet!</vt:lpstr>
      <vt:lpstr>Erste Schritte zum Glasfaseranschluss</vt:lpstr>
      <vt:lpstr>Angebote für Privatkunden</vt:lpstr>
      <vt:lpstr>Ob Internet, Telefon oder IPTV — wir sind Ihr Ansprechpartner</vt:lpstr>
      <vt:lpstr>Machen Sie mehr aus Ihrem Internetanschluss</vt:lpstr>
      <vt:lpstr>Anbieterwechselauftrag</vt:lpstr>
      <vt:lpstr>Ihr regionaler Ansprechpartner</vt:lpstr>
      <vt:lpstr>Angebote für Geschäftskunden</vt:lpstr>
      <vt:lpstr>Unsere Services und Lösungen für Sie – maßgeschneidert und zuverlässig</vt:lpstr>
      <vt:lpstr>Kurz und knapp: ComBusiness phone</vt:lpstr>
      <vt:lpstr>Ihr Kontakt zur NetCom B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Flo Witek</dc:creator>
  <cp:lastModifiedBy>Haberlandt Benjamin</cp:lastModifiedBy>
  <cp:revision>2</cp:revision>
  <dcterms:created xsi:type="dcterms:W3CDTF">2023-08-22T07:43:49Z</dcterms:created>
  <dcterms:modified xsi:type="dcterms:W3CDTF">2026-05-05T13:5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92704DAEF45B045A3894D3402209EBB</vt:lpwstr>
  </property>
</Properties>
</file>